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4.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2" r:id="rId3"/>
    <p:sldMasterId id="2147483755" r:id="rId4"/>
    <p:sldMasterId id="2147483807" r:id="rId5"/>
    <p:sldMasterId id="2147483864" r:id="rId6"/>
  </p:sldMasterIdLst>
  <p:notesMasterIdLst>
    <p:notesMasterId r:id="rId76"/>
  </p:notesMasterIdLst>
  <p:sldIdLst>
    <p:sldId id="256" r:id="rId7"/>
    <p:sldId id="2147469712" r:id="rId8"/>
    <p:sldId id="2147478924" r:id="rId9"/>
    <p:sldId id="2147469713" r:id="rId10"/>
    <p:sldId id="2147469714" r:id="rId11"/>
    <p:sldId id="2147469715" r:id="rId12"/>
    <p:sldId id="259" r:id="rId13"/>
    <p:sldId id="2147478914" r:id="rId14"/>
    <p:sldId id="2147469721" r:id="rId15"/>
    <p:sldId id="2147469722" r:id="rId16"/>
    <p:sldId id="2147469720" r:id="rId17"/>
    <p:sldId id="2147469723" r:id="rId18"/>
    <p:sldId id="2147469724" r:id="rId19"/>
    <p:sldId id="2147469717" r:id="rId20"/>
    <p:sldId id="2147469718" r:id="rId21"/>
    <p:sldId id="2147469719" r:id="rId22"/>
    <p:sldId id="2147469716" r:id="rId23"/>
    <p:sldId id="2147478915" r:id="rId24"/>
    <p:sldId id="2147478925" r:id="rId25"/>
    <p:sldId id="2147478926" r:id="rId26"/>
    <p:sldId id="2147478927" r:id="rId27"/>
    <p:sldId id="2147478928" r:id="rId28"/>
    <p:sldId id="2147478916" r:id="rId29"/>
    <p:sldId id="2147469797" r:id="rId30"/>
    <p:sldId id="2147478912" r:id="rId31"/>
    <p:sldId id="2147478917" r:id="rId32"/>
    <p:sldId id="2076138833" r:id="rId33"/>
    <p:sldId id="2076138834" r:id="rId34"/>
    <p:sldId id="2147478918" r:id="rId35"/>
    <p:sldId id="2147478911" r:id="rId36"/>
    <p:sldId id="2147478919" r:id="rId37"/>
    <p:sldId id="2147469746" r:id="rId38"/>
    <p:sldId id="2147469748" r:id="rId39"/>
    <p:sldId id="2147469749" r:id="rId40"/>
    <p:sldId id="2147478920" r:id="rId41"/>
    <p:sldId id="2147469758" r:id="rId42"/>
    <p:sldId id="2147478921" r:id="rId43"/>
    <p:sldId id="2147469736" r:id="rId44"/>
    <p:sldId id="2147469730" r:id="rId45"/>
    <p:sldId id="2147469731" r:id="rId46"/>
    <p:sldId id="2147469732" r:id="rId47"/>
    <p:sldId id="2147469733" r:id="rId48"/>
    <p:sldId id="2147469734" r:id="rId49"/>
    <p:sldId id="2147469735" r:id="rId50"/>
    <p:sldId id="2147478922" r:id="rId51"/>
    <p:sldId id="2147469737" r:id="rId52"/>
    <p:sldId id="2147469738" r:id="rId53"/>
    <p:sldId id="2147469739" r:id="rId54"/>
    <p:sldId id="2147469741" r:id="rId55"/>
    <p:sldId id="2147469740" r:id="rId56"/>
    <p:sldId id="2147469742" r:id="rId57"/>
    <p:sldId id="2147469743" r:id="rId58"/>
    <p:sldId id="2147469744" r:id="rId59"/>
    <p:sldId id="2147478923" r:id="rId60"/>
    <p:sldId id="2147469750" r:id="rId61"/>
    <p:sldId id="2147469751" r:id="rId62"/>
    <p:sldId id="2147469752" r:id="rId63"/>
    <p:sldId id="2147469753" r:id="rId64"/>
    <p:sldId id="2147469754" r:id="rId65"/>
    <p:sldId id="2147469755" r:id="rId66"/>
    <p:sldId id="2147469745" r:id="rId67"/>
    <p:sldId id="2147469756" r:id="rId68"/>
    <p:sldId id="2147469727" r:id="rId69"/>
    <p:sldId id="2147469728" r:id="rId70"/>
    <p:sldId id="2147469757" r:id="rId71"/>
    <p:sldId id="2147469729" r:id="rId72"/>
    <p:sldId id="2147469747" r:id="rId73"/>
    <p:sldId id="2147478913" r:id="rId74"/>
    <p:sldId id="2147469711"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F130BD-0BF1-4606-BB09-74CBB1A09AFA}">
          <p14:sldIdLst>
            <p14:sldId id="256"/>
            <p14:sldId id="2147469712"/>
          </p14:sldIdLst>
        </p14:section>
        <p14:section name="Layout experience" id="{BE4F2D10-7B9A-414D-A284-39197E1361E6}">
          <p14:sldIdLst>
            <p14:sldId id="2147478924"/>
            <p14:sldId id="2147469713"/>
            <p14:sldId id="2147469714"/>
            <p14:sldId id="2147469715"/>
            <p14:sldId id="259"/>
            <p14:sldId id="2147478914"/>
            <p14:sldId id="2147469721"/>
            <p14:sldId id="2147469722"/>
            <p14:sldId id="2147469720"/>
            <p14:sldId id="2147469723"/>
            <p14:sldId id="2147469724"/>
            <p14:sldId id="2147469717"/>
            <p14:sldId id="2147469718"/>
            <p14:sldId id="2147469719"/>
            <p14:sldId id="2147469716"/>
          </p14:sldIdLst>
        </p14:section>
        <p14:section name="Design guidelines" id="{22EFF752-8E54-4D51-8A3F-8D6E3B007574}">
          <p14:sldIdLst>
            <p14:sldId id="2147478915"/>
            <p14:sldId id="2147478925"/>
            <p14:sldId id="2147478926"/>
            <p14:sldId id="2147478927"/>
            <p14:sldId id="2147478928"/>
          </p14:sldIdLst>
        </p14:section>
        <p14:section name="Developer experience" id="{4A4ECE62-F57D-4B3E-869E-97955262313B}">
          <p14:sldIdLst>
            <p14:sldId id="2147478916"/>
            <p14:sldId id="2147469797"/>
            <p14:sldId id="2147478912"/>
          </p14:sldIdLst>
        </p14:section>
        <p14:section name="OneDrive Integration" id="{60CC7259-B461-417A-B709-E5B9AA5D6C50}">
          <p14:sldIdLst>
            <p14:sldId id="2147478917"/>
            <p14:sldId id="2076138833"/>
            <p14:sldId id="2076138834"/>
          </p14:sldIdLst>
        </p14:section>
        <p14:section name="Power BI integration" id="{D60279F5-4BBE-46DD-B606-6D3024731D5B}">
          <p14:sldIdLst>
            <p14:sldId id="2147478918"/>
            <p14:sldId id="2147478911"/>
          </p14:sldIdLst>
        </p14:section>
        <p14:section name="Where does Excel layouts shine?" id="{8A4B88FB-F450-4056-B62C-AB08A87D0F2D}">
          <p14:sldIdLst>
            <p14:sldId id="2147478919"/>
            <p14:sldId id="2147469746"/>
            <p14:sldId id="2147469748"/>
            <p14:sldId id="2147469749"/>
          </p14:sldIdLst>
        </p14:section>
        <p14:section name="Excel layout samples" id="{9F0E8376-6721-481F-9C9D-6A62B4C2D25A}">
          <p14:sldIdLst>
            <p14:sldId id="2147478920"/>
            <p14:sldId id="2147469758"/>
          </p14:sldIdLst>
        </p14:section>
        <p14:section name="Post-processing" id="{57126BBE-8B2A-4B16-B401-1D012F3B12EC}">
          <p14:sldIdLst>
            <p14:sldId id="2147478921"/>
            <p14:sldId id="2147469736"/>
            <p14:sldId id="2147469730"/>
            <p14:sldId id="2147469731"/>
            <p14:sldId id="2147469732"/>
            <p14:sldId id="2147469733"/>
            <p14:sldId id="2147469734"/>
            <p14:sldId id="2147469735"/>
          </p14:sldIdLst>
        </p14:section>
        <p14:section name="Collaborate" id="{C803B1DC-9A6E-4DE2-8596-57C1D4ED6329}">
          <p14:sldIdLst>
            <p14:sldId id="2147478922"/>
            <p14:sldId id="2147469737"/>
            <p14:sldId id="2147469738"/>
            <p14:sldId id="2147469739"/>
            <p14:sldId id="2147469741"/>
            <p14:sldId id="2147469740"/>
            <p14:sldId id="2147469742"/>
            <p14:sldId id="2147469743"/>
            <p14:sldId id="2147469744"/>
          </p14:sldIdLst>
        </p14:section>
        <p14:section name="Using Power Query" id="{A0700264-2D10-4464-B9BC-DB7A074D3E26}">
          <p14:sldIdLst>
            <p14:sldId id="2147478923"/>
            <p14:sldId id="2147469750"/>
            <p14:sldId id="2147469751"/>
            <p14:sldId id="2147469752"/>
            <p14:sldId id="2147469753"/>
            <p14:sldId id="2147469754"/>
            <p14:sldId id="2147469755"/>
          </p14:sldIdLst>
        </p14:section>
        <p14:section name="Tips and Tricks" id="{9A5FD7C5-6F3E-4856-99E4-D587B9C25EE4}">
          <p14:sldIdLst>
            <p14:sldId id="2147469745"/>
            <p14:sldId id="2147469756"/>
            <p14:sldId id="2147469727"/>
            <p14:sldId id="2147469728"/>
            <p14:sldId id="2147469757"/>
            <p14:sldId id="2147469729"/>
            <p14:sldId id="2147469747"/>
          </p14:sldIdLst>
        </p14:section>
        <p14:section name="Links" id="{8CF9718A-E65E-4E24-9CAB-4221EEB33C45}">
          <p14:sldIdLst>
            <p14:sldId id="2147478913"/>
          </p14:sldIdLst>
        </p14:section>
        <p14:section name="Internals" id="{437441DC-0BCB-431C-A8FF-B9E5DF170DB5}">
          <p14:sldIdLst>
            <p14:sldId id="21474697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283E-F69C-413F-81B1-F3B8D4F6D7D3}" v="113" dt="2022-03-19T20:27:47.7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245" y="59"/>
      </p:cViewPr>
      <p:guideLst/>
    </p:cSldViewPr>
  </p:slideViewPr>
  <p:notesTextViewPr>
    <p:cViewPr>
      <p:scale>
        <a:sx n="1" d="1"/>
        <a:sy n="1" d="1"/>
      </p:scale>
      <p:origin x="0" y="0"/>
    </p:cViewPr>
  </p:notesTextViewPr>
  <p:sorterViewPr>
    <p:cViewPr>
      <p:scale>
        <a:sx n="100" d="100"/>
        <a:sy n="100" d="100"/>
      </p:scale>
      <p:origin x="0" y="-15499"/>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5.xml"/><Relationship Id="rId82" Type="http://schemas.microsoft.com/office/2015/10/relationships/revisionInfo" Target="revisionInfo.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einhardt" userId="S::jolse@microsoft.com::cb3983b8-47aa-48ce-a77c-84d2cca235a5" providerId="AD" clId="Web-{00EF381E-285C-9404-8BA0-E69AFCEB177C}"/>
    <pc:docChg chg="modSld">
      <pc:chgData name="Jennifer Reinhardt" userId="S::jolse@microsoft.com::cb3983b8-47aa-48ce-a77c-84d2cca235a5" providerId="AD" clId="Web-{00EF381E-285C-9404-8BA0-E69AFCEB177C}" dt="2022-03-21T13:27:22.774" v="0" actId="1076"/>
      <pc:docMkLst>
        <pc:docMk/>
      </pc:docMkLst>
      <pc:sldChg chg="modSp">
        <pc:chgData name="Jennifer Reinhardt" userId="S::jolse@microsoft.com::cb3983b8-47aa-48ce-a77c-84d2cca235a5" providerId="AD" clId="Web-{00EF381E-285C-9404-8BA0-E69AFCEB177C}" dt="2022-03-21T13:27:22.774" v="0" actId="1076"/>
        <pc:sldMkLst>
          <pc:docMk/>
          <pc:sldMk cId="339509621" sldId="2147469717"/>
        </pc:sldMkLst>
        <pc:graphicFrameChg chg="mod">
          <ac:chgData name="Jennifer Reinhardt" userId="S::jolse@microsoft.com::cb3983b8-47aa-48ce-a77c-84d2cca235a5" providerId="AD" clId="Web-{00EF381E-285C-9404-8BA0-E69AFCEB177C}" dt="2022-03-21T13:27:22.774" v="0" actId="1076"/>
          <ac:graphicFrameMkLst>
            <pc:docMk/>
            <pc:sldMk cId="339509621" sldId="2147469717"/>
            <ac:graphicFrameMk id="4" creationId="{5EA5A350-5D9C-4AA9-9D25-DE88C3D51F7D}"/>
          </ac:graphicFrameMkLst>
        </pc:graphicFrameChg>
      </pc:sldChg>
    </pc:docChg>
  </pc:docChgLst>
  <pc:docChgLst>
    <pc:chgData name="Kennie Pontoppidan" userId="0b66d239-c77c-454e-82ce-695a270d63fb" providerId="ADAL" clId="{11B5283E-F69C-413F-81B1-F3B8D4F6D7D3}"/>
    <pc:docChg chg="undo redo custSel addSld delSld modSld sldOrd addSection delSection modSection">
      <pc:chgData name="Kennie Pontoppidan" userId="0b66d239-c77c-454e-82ce-695a270d63fb" providerId="ADAL" clId="{11B5283E-F69C-413F-81B1-F3B8D4F6D7D3}" dt="2022-03-19T20:28:52.768" v="4875" actId="20577"/>
      <pc:docMkLst>
        <pc:docMk/>
      </pc:docMkLst>
      <pc:sldChg chg="modSp mod">
        <pc:chgData name="Kennie Pontoppidan" userId="0b66d239-c77c-454e-82ce-695a270d63fb" providerId="ADAL" clId="{11B5283E-F69C-413F-81B1-F3B8D4F6D7D3}" dt="2022-03-18T19:17:54.693" v="1520" actId="20577"/>
        <pc:sldMkLst>
          <pc:docMk/>
          <pc:sldMk cId="4279906807" sldId="256"/>
        </pc:sldMkLst>
        <pc:spChg chg="mod">
          <ac:chgData name="Kennie Pontoppidan" userId="0b66d239-c77c-454e-82ce-695a270d63fb" providerId="ADAL" clId="{11B5283E-F69C-413F-81B1-F3B8D4F6D7D3}" dt="2022-03-18T19:17:54.693" v="1520" actId="20577"/>
          <ac:spMkLst>
            <pc:docMk/>
            <pc:sldMk cId="4279906807" sldId="256"/>
            <ac:spMk id="3" creationId="{5A99F30C-2396-4D32-9081-EB1D032FCB23}"/>
          </ac:spMkLst>
        </pc:spChg>
      </pc:sldChg>
      <pc:sldChg chg="del ord">
        <pc:chgData name="Kennie Pontoppidan" userId="0b66d239-c77c-454e-82ce-695a270d63fb" providerId="ADAL" clId="{11B5283E-F69C-413F-81B1-F3B8D4F6D7D3}" dt="2022-03-18T19:03:07.119" v="1377" actId="18676"/>
        <pc:sldMkLst>
          <pc:docMk/>
          <pc:sldMk cId="751457247" sldId="257"/>
        </pc:sldMkLst>
      </pc:sldChg>
      <pc:sldChg chg="del">
        <pc:chgData name="Kennie Pontoppidan" userId="0b66d239-c77c-454e-82ce-695a270d63fb" providerId="ADAL" clId="{11B5283E-F69C-413F-81B1-F3B8D4F6D7D3}" dt="2022-03-18T19:02:13.619" v="1368" actId="18676"/>
        <pc:sldMkLst>
          <pc:docMk/>
          <pc:sldMk cId="3601959459" sldId="258"/>
        </pc:sldMkLst>
      </pc:sldChg>
      <pc:sldChg chg="addSp modSp mod ord">
        <pc:chgData name="Kennie Pontoppidan" userId="0b66d239-c77c-454e-82ce-695a270d63fb" providerId="ADAL" clId="{11B5283E-F69C-413F-81B1-F3B8D4F6D7D3}" dt="2022-03-18T18:47:13.530" v="1328" actId="1076"/>
        <pc:sldMkLst>
          <pc:docMk/>
          <pc:sldMk cId="802361785" sldId="259"/>
        </pc:sldMkLst>
        <pc:spChg chg="mod">
          <ac:chgData name="Kennie Pontoppidan" userId="0b66d239-c77c-454e-82ce-695a270d63fb" providerId="ADAL" clId="{11B5283E-F69C-413F-81B1-F3B8D4F6D7D3}" dt="2022-03-18T18:46:21.439" v="1319" actId="20577"/>
          <ac:spMkLst>
            <pc:docMk/>
            <pc:sldMk cId="802361785" sldId="259"/>
            <ac:spMk id="2" creationId="{68328998-7B38-4547-819F-AB6B9412E077}"/>
          </ac:spMkLst>
        </pc:spChg>
        <pc:spChg chg="mod">
          <ac:chgData name="Kennie Pontoppidan" userId="0b66d239-c77c-454e-82ce-695a270d63fb" providerId="ADAL" clId="{11B5283E-F69C-413F-81B1-F3B8D4F6D7D3}" dt="2022-03-18T18:46:28.752" v="1322" actId="1076"/>
          <ac:spMkLst>
            <pc:docMk/>
            <pc:sldMk cId="802361785" sldId="259"/>
            <ac:spMk id="10" creationId="{FF7FEABD-E2FF-49A8-823E-B489743F6720}"/>
          </ac:spMkLst>
        </pc:spChg>
        <pc:grpChg chg="add mod">
          <ac:chgData name="Kennie Pontoppidan" userId="0b66d239-c77c-454e-82ce-695a270d63fb" providerId="ADAL" clId="{11B5283E-F69C-413F-81B1-F3B8D4F6D7D3}" dt="2022-03-18T18:47:13.530" v="1328" actId="1076"/>
          <ac:grpSpMkLst>
            <pc:docMk/>
            <pc:sldMk cId="802361785" sldId="259"/>
            <ac:grpSpMk id="3" creationId="{F3B055C3-7672-416D-A467-A4974B0EA31D}"/>
          </ac:grpSpMkLst>
        </pc:grpChg>
      </pc:sldChg>
      <pc:sldChg chg="del ord">
        <pc:chgData name="Kennie Pontoppidan" userId="0b66d239-c77c-454e-82ce-695a270d63fb" providerId="ADAL" clId="{11B5283E-F69C-413F-81B1-F3B8D4F6D7D3}" dt="2022-03-18T19:03:07.119" v="1377" actId="18676"/>
        <pc:sldMkLst>
          <pc:docMk/>
          <pc:sldMk cId="1957415555" sldId="2076136390"/>
        </pc:sldMkLst>
      </pc:sldChg>
      <pc:sldChg chg="del ord">
        <pc:chgData name="Kennie Pontoppidan" userId="0b66d239-c77c-454e-82ce-695a270d63fb" providerId="ADAL" clId="{11B5283E-F69C-413F-81B1-F3B8D4F6D7D3}" dt="2022-03-18T19:03:07.119" v="1377" actId="18676"/>
        <pc:sldMkLst>
          <pc:docMk/>
          <pc:sldMk cId="5461797" sldId="2076138377"/>
        </pc:sldMkLst>
      </pc:sldChg>
      <pc:sldChg chg="del ord">
        <pc:chgData name="Kennie Pontoppidan" userId="0b66d239-c77c-454e-82ce-695a270d63fb" providerId="ADAL" clId="{11B5283E-F69C-413F-81B1-F3B8D4F6D7D3}" dt="2022-03-18T19:03:07.119" v="1377" actId="18676"/>
        <pc:sldMkLst>
          <pc:docMk/>
          <pc:sldMk cId="435697531" sldId="2145706208"/>
        </pc:sldMkLst>
      </pc:sldChg>
      <pc:sldChg chg="del ord">
        <pc:chgData name="Kennie Pontoppidan" userId="0b66d239-c77c-454e-82ce-695a270d63fb" providerId="ADAL" clId="{11B5283E-F69C-413F-81B1-F3B8D4F6D7D3}" dt="2022-03-18T19:03:07.119" v="1377" actId="18676"/>
        <pc:sldMkLst>
          <pc:docMk/>
          <pc:sldMk cId="312132404" sldId="2145706209"/>
        </pc:sldMkLst>
      </pc:sldChg>
      <pc:sldChg chg="del ord">
        <pc:chgData name="Kennie Pontoppidan" userId="0b66d239-c77c-454e-82ce-695a270d63fb" providerId="ADAL" clId="{11B5283E-F69C-413F-81B1-F3B8D4F6D7D3}" dt="2022-03-18T19:03:07.119" v="1377" actId="18676"/>
        <pc:sldMkLst>
          <pc:docMk/>
          <pc:sldMk cId="4090595560" sldId="2145706210"/>
        </pc:sldMkLst>
      </pc:sldChg>
      <pc:sldChg chg="del ord">
        <pc:chgData name="Kennie Pontoppidan" userId="0b66d239-c77c-454e-82ce-695a270d63fb" providerId="ADAL" clId="{11B5283E-F69C-413F-81B1-F3B8D4F6D7D3}" dt="2022-03-18T19:03:07.119" v="1377" actId="18676"/>
        <pc:sldMkLst>
          <pc:docMk/>
          <pc:sldMk cId="248452032" sldId="2147469691"/>
        </pc:sldMkLst>
      </pc:sldChg>
      <pc:sldChg chg="del">
        <pc:chgData name="Kennie Pontoppidan" userId="0b66d239-c77c-454e-82ce-695a270d63fb" providerId="ADAL" clId="{11B5283E-F69C-413F-81B1-F3B8D4F6D7D3}" dt="2022-03-18T19:02:24.509" v="1369" actId="18676"/>
        <pc:sldMkLst>
          <pc:docMk/>
          <pc:sldMk cId="3637825179" sldId="2147469692"/>
        </pc:sldMkLst>
      </pc:sldChg>
      <pc:sldChg chg="del">
        <pc:chgData name="Kennie Pontoppidan" userId="0b66d239-c77c-454e-82ce-695a270d63fb" providerId="ADAL" clId="{11B5283E-F69C-413F-81B1-F3B8D4F6D7D3}" dt="2022-03-18T19:02:24.509" v="1369" actId="18676"/>
        <pc:sldMkLst>
          <pc:docMk/>
          <pc:sldMk cId="379971796" sldId="2147469693"/>
        </pc:sldMkLst>
      </pc:sldChg>
      <pc:sldChg chg="del">
        <pc:chgData name="Kennie Pontoppidan" userId="0b66d239-c77c-454e-82ce-695a270d63fb" providerId="ADAL" clId="{11B5283E-F69C-413F-81B1-F3B8D4F6D7D3}" dt="2022-03-18T19:02:24.509" v="1369" actId="18676"/>
        <pc:sldMkLst>
          <pc:docMk/>
          <pc:sldMk cId="2680459000" sldId="2147469694"/>
        </pc:sldMkLst>
      </pc:sldChg>
      <pc:sldChg chg="del">
        <pc:chgData name="Kennie Pontoppidan" userId="0b66d239-c77c-454e-82ce-695a270d63fb" providerId="ADAL" clId="{11B5283E-F69C-413F-81B1-F3B8D4F6D7D3}" dt="2022-03-18T19:02:24.509" v="1369" actId="18676"/>
        <pc:sldMkLst>
          <pc:docMk/>
          <pc:sldMk cId="1152970630" sldId="2147469695"/>
        </pc:sldMkLst>
      </pc:sldChg>
      <pc:sldChg chg="del">
        <pc:chgData name="Kennie Pontoppidan" userId="0b66d239-c77c-454e-82ce-695a270d63fb" providerId="ADAL" clId="{11B5283E-F69C-413F-81B1-F3B8D4F6D7D3}" dt="2022-03-18T19:02:24.509" v="1369" actId="18676"/>
        <pc:sldMkLst>
          <pc:docMk/>
          <pc:sldMk cId="2522863423" sldId="2147469696"/>
        </pc:sldMkLst>
      </pc:sldChg>
      <pc:sldChg chg="del">
        <pc:chgData name="Kennie Pontoppidan" userId="0b66d239-c77c-454e-82ce-695a270d63fb" providerId="ADAL" clId="{11B5283E-F69C-413F-81B1-F3B8D4F6D7D3}" dt="2022-03-18T19:02:13.619" v="1368" actId="18676"/>
        <pc:sldMkLst>
          <pc:docMk/>
          <pc:sldMk cId="4158658687" sldId="2147469697"/>
        </pc:sldMkLst>
      </pc:sldChg>
      <pc:sldChg chg="del">
        <pc:chgData name="Kennie Pontoppidan" userId="0b66d239-c77c-454e-82ce-695a270d63fb" providerId="ADAL" clId="{11B5283E-F69C-413F-81B1-F3B8D4F6D7D3}" dt="2022-03-18T19:02:13.619" v="1368" actId="18676"/>
        <pc:sldMkLst>
          <pc:docMk/>
          <pc:sldMk cId="3435881472" sldId="2147469698"/>
        </pc:sldMkLst>
      </pc:sldChg>
      <pc:sldChg chg="del">
        <pc:chgData name="Kennie Pontoppidan" userId="0b66d239-c77c-454e-82ce-695a270d63fb" providerId="ADAL" clId="{11B5283E-F69C-413F-81B1-F3B8D4F6D7D3}" dt="2022-03-18T19:02:24.509" v="1369" actId="18676"/>
        <pc:sldMkLst>
          <pc:docMk/>
          <pc:sldMk cId="2555829834" sldId="2147469699"/>
        </pc:sldMkLst>
      </pc:sldChg>
      <pc:sldChg chg="del">
        <pc:chgData name="Kennie Pontoppidan" userId="0b66d239-c77c-454e-82ce-695a270d63fb" providerId="ADAL" clId="{11B5283E-F69C-413F-81B1-F3B8D4F6D7D3}" dt="2022-03-18T19:02:24.509" v="1369" actId="18676"/>
        <pc:sldMkLst>
          <pc:docMk/>
          <pc:sldMk cId="4215352769" sldId="2147469700"/>
        </pc:sldMkLst>
      </pc:sldChg>
      <pc:sldChg chg="del">
        <pc:chgData name="Kennie Pontoppidan" userId="0b66d239-c77c-454e-82ce-695a270d63fb" providerId="ADAL" clId="{11B5283E-F69C-413F-81B1-F3B8D4F6D7D3}" dt="2022-03-18T19:02:24.509" v="1369" actId="18676"/>
        <pc:sldMkLst>
          <pc:docMk/>
          <pc:sldMk cId="2708957799" sldId="2147469701"/>
        </pc:sldMkLst>
      </pc:sldChg>
      <pc:sldChg chg="del">
        <pc:chgData name="Kennie Pontoppidan" userId="0b66d239-c77c-454e-82ce-695a270d63fb" providerId="ADAL" clId="{11B5283E-F69C-413F-81B1-F3B8D4F6D7D3}" dt="2022-03-18T19:02:24.509" v="1369" actId="18676"/>
        <pc:sldMkLst>
          <pc:docMk/>
          <pc:sldMk cId="1490457984" sldId="2147469702"/>
        </pc:sldMkLst>
      </pc:sldChg>
      <pc:sldChg chg="del">
        <pc:chgData name="Kennie Pontoppidan" userId="0b66d239-c77c-454e-82ce-695a270d63fb" providerId="ADAL" clId="{11B5283E-F69C-413F-81B1-F3B8D4F6D7D3}" dt="2022-03-18T19:02:24.509" v="1369" actId="18676"/>
        <pc:sldMkLst>
          <pc:docMk/>
          <pc:sldMk cId="2346551596" sldId="2147469703"/>
        </pc:sldMkLst>
      </pc:sldChg>
      <pc:sldChg chg="del">
        <pc:chgData name="Kennie Pontoppidan" userId="0b66d239-c77c-454e-82ce-695a270d63fb" providerId="ADAL" clId="{11B5283E-F69C-413F-81B1-F3B8D4F6D7D3}" dt="2022-03-18T19:02:13.619" v="1368" actId="18676"/>
        <pc:sldMkLst>
          <pc:docMk/>
          <pc:sldMk cId="3858851751" sldId="2147469704"/>
        </pc:sldMkLst>
      </pc:sldChg>
      <pc:sldChg chg="del">
        <pc:chgData name="Kennie Pontoppidan" userId="0b66d239-c77c-454e-82ce-695a270d63fb" providerId="ADAL" clId="{11B5283E-F69C-413F-81B1-F3B8D4F6D7D3}" dt="2022-03-18T19:02:13.619" v="1368" actId="18676"/>
        <pc:sldMkLst>
          <pc:docMk/>
          <pc:sldMk cId="2895832254" sldId="2147469705"/>
        </pc:sldMkLst>
      </pc:sldChg>
      <pc:sldChg chg="del">
        <pc:chgData name="Kennie Pontoppidan" userId="0b66d239-c77c-454e-82ce-695a270d63fb" providerId="ADAL" clId="{11B5283E-F69C-413F-81B1-F3B8D4F6D7D3}" dt="2022-03-18T19:02:13.619" v="1368" actId="18676"/>
        <pc:sldMkLst>
          <pc:docMk/>
          <pc:sldMk cId="2880482231" sldId="2147469706"/>
        </pc:sldMkLst>
      </pc:sldChg>
      <pc:sldChg chg="del">
        <pc:chgData name="Kennie Pontoppidan" userId="0b66d239-c77c-454e-82ce-695a270d63fb" providerId="ADAL" clId="{11B5283E-F69C-413F-81B1-F3B8D4F6D7D3}" dt="2022-03-18T19:02:13.619" v="1368" actId="18676"/>
        <pc:sldMkLst>
          <pc:docMk/>
          <pc:sldMk cId="2142001067" sldId="2147469707"/>
        </pc:sldMkLst>
      </pc:sldChg>
      <pc:sldChg chg="del">
        <pc:chgData name="Kennie Pontoppidan" userId="0b66d239-c77c-454e-82ce-695a270d63fb" providerId="ADAL" clId="{11B5283E-F69C-413F-81B1-F3B8D4F6D7D3}" dt="2022-03-18T19:02:13.619" v="1368" actId="18676"/>
        <pc:sldMkLst>
          <pc:docMk/>
          <pc:sldMk cId="27236482" sldId="2147469708"/>
        </pc:sldMkLst>
      </pc:sldChg>
      <pc:sldChg chg="del">
        <pc:chgData name="Kennie Pontoppidan" userId="0b66d239-c77c-454e-82ce-695a270d63fb" providerId="ADAL" clId="{11B5283E-F69C-413F-81B1-F3B8D4F6D7D3}" dt="2022-03-18T19:02:13.619" v="1368" actId="18676"/>
        <pc:sldMkLst>
          <pc:docMk/>
          <pc:sldMk cId="3344321951" sldId="2147469709"/>
        </pc:sldMkLst>
      </pc:sldChg>
      <pc:sldChg chg="del">
        <pc:chgData name="Kennie Pontoppidan" userId="0b66d239-c77c-454e-82ce-695a270d63fb" providerId="ADAL" clId="{11B5283E-F69C-413F-81B1-F3B8D4F6D7D3}" dt="2022-03-18T19:02:24.509" v="1369" actId="18676"/>
        <pc:sldMkLst>
          <pc:docMk/>
          <pc:sldMk cId="1800891916" sldId="2147469710"/>
        </pc:sldMkLst>
      </pc:sldChg>
      <pc:sldChg chg="modSp mod ord">
        <pc:chgData name="Kennie Pontoppidan" userId="0b66d239-c77c-454e-82ce-695a270d63fb" providerId="ADAL" clId="{11B5283E-F69C-413F-81B1-F3B8D4F6D7D3}" dt="2022-03-18T19:19:29.735" v="1614" actId="6549"/>
        <pc:sldMkLst>
          <pc:docMk/>
          <pc:sldMk cId="861046477" sldId="2147469711"/>
        </pc:sldMkLst>
        <pc:spChg chg="mod">
          <ac:chgData name="Kennie Pontoppidan" userId="0b66d239-c77c-454e-82ce-695a270d63fb" providerId="ADAL" clId="{11B5283E-F69C-413F-81B1-F3B8D4F6D7D3}" dt="2022-03-18T19:18:33.059" v="1535" actId="20577"/>
          <ac:spMkLst>
            <pc:docMk/>
            <pc:sldMk cId="861046477" sldId="2147469711"/>
            <ac:spMk id="2" creationId="{5BC47EED-13D6-4AC0-8FC4-5A17536EDA36}"/>
          </ac:spMkLst>
        </pc:spChg>
        <pc:spChg chg="mod">
          <ac:chgData name="Kennie Pontoppidan" userId="0b66d239-c77c-454e-82ce-695a270d63fb" providerId="ADAL" clId="{11B5283E-F69C-413F-81B1-F3B8D4F6D7D3}" dt="2022-03-18T19:19:29.735" v="1614" actId="6549"/>
          <ac:spMkLst>
            <pc:docMk/>
            <pc:sldMk cId="861046477" sldId="2147469711"/>
            <ac:spMk id="3" creationId="{F14873A5-850F-4DDB-9A3A-70AFD67D4515}"/>
          </ac:spMkLst>
        </pc:spChg>
      </pc:sldChg>
      <pc:sldChg chg="modSp new mod">
        <pc:chgData name="Kennie Pontoppidan" userId="0b66d239-c77c-454e-82ce-695a270d63fb" providerId="ADAL" clId="{11B5283E-F69C-413F-81B1-F3B8D4F6D7D3}" dt="2022-03-18T20:11:35.851" v="1640" actId="20577"/>
        <pc:sldMkLst>
          <pc:docMk/>
          <pc:sldMk cId="2152013351" sldId="2147469712"/>
        </pc:sldMkLst>
        <pc:spChg chg="mod">
          <ac:chgData name="Kennie Pontoppidan" userId="0b66d239-c77c-454e-82ce-695a270d63fb" providerId="ADAL" clId="{11B5283E-F69C-413F-81B1-F3B8D4F6D7D3}" dt="2022-03-18T19:17:38.933" v="1503" actId="400"/>
          <ac:spMkLst>
            <pc:docMk/>
            <pc:sldMk cId="2152013351" sldId="2147469712"/>
            <ac:spMk id="2" creationId="{8ADD2EA7-E399-48DF-BF5B-47C7DD045CE7}"/>
          </ac:spMkLst>
        </pc:spChg>
        <pc:spChg chg="mod">
          <ac:chgData name="Kennie Pontoppidan" userId="0b66d239-c77c-454e-82ce-695a270d63fb" providerId="ADAL" clId="{11B5283E-F69C-413F-81B1-F3B8D4F6D7D3}" dt="2022-03-18T20:11:35.851" v="1640" actId="20577"/>
          <ac:spMkLst>
            <pc:docMk/>
            <pc:sldMk cId="2152013351" sldId="2147469712"/>
            <ac:spMk id="3" creationId="{FB9DC008-2DD6-4ADF-A12C-80FD54175CE8}"/>
          </ac:spMkLst>
        </pc:spChg>
      </pc:sldChg>
      <pc:sldChg chg="modSp new mod">
        <pc:chgData name="Kennie Pontoppidan" userId="0b66d239-c77c-454e-82ce-695a270d63fb" providerId="ADAL" clId="{11B5283E-F69C-413F-81B1-F3B8D4F6D7D3}" dt="2022-03-18T18:49:24.173" v="1354" actId="6549"/>
        <pc:sldMkLst>
          <pc:docMk/>
          <pc:sldMk cId="2022175216" sldId="2147469713"/>
        </pc:sldMkLst>
        <pc:spChg chg="mod">
          <ac:chgData name="Kennie Pontoppidan" userId="0b66d239-c77c-454e-82ce-695a270d63fb" providerId="ADAL" clId="{11B5283E-F69C-413F-81B1-F3B8D4F6D7D3}" dt="2022-03-18T18:27:17.015" v="834" actId="20577"/>
          <ac:spMkLst>
            <pc:docMk/>
            <pc:sldMk cId="2022175216" sldId="2147469713"/>
            <ac:spMk id="2" creationId="{226DD5AE-A101-47A3-8C8E-C397DCE5FD2F}"/>
          </ac:spMkLst>
        </pc:spChg>
        <pc:spChg chg="mod">
          <ac:chgData name="Kennie Pontoppidan" userId="0b66d239-c77c-454e-82ce-695a270d63fb" providerId="ADAL" clId="{11B5283E-F69C-413F-81B1-F3B8D4F6D7D3}" dt="2022-03-18T18:49:24.173" v="1354" actId="6549"/>
          <ac:spMkLst>
            <pc:docMk/>
            <pc:sldMk cId="2022175216" sldId="2147469713"/>
            <ac:spMk id="3" creationId="{A3DF9F97-4A62-4703-BEAA-A7F660FE0049}"/>
          </ac:spMkLst>
        </pc:spChg>
      </pc:sldChg>
      <pc:sldChg chg="modSp mod">
        <pc:chgData name="Kennie Pontoppidan" userId="0b66d239-c77c-454e-82ce-695a270d63fb" providerId="ADAL" clId="{11B5283E-F69C-413F-81B1-F3B8D4F6D7D3}" dt="2022-03-18T18:30:35.215" v="894"/>
        <pc:sldMkLst>
          <pc:docMk/>
          <pc:sldMk cId="939908227" sldId="2147469714"/>
        </pc:sldMkLst>
        <pc:spChg chg="mod">
          <ac:chgData name="Kennie Pontoppidan" userId="0b66d239-c77c-454e-82ce-695a270d63fb" providerId="ADAL" clId="{11B5283E-F69C-413F-81B1-F3B8D4F6D7D3}" dt="2022-03-18T18:30:35.215" v="894"/>
          <ac:spMkLst>
            <pc:docMk/>
            <pc:sldMk cId="939908227" sldId="2147469714"/>
            <ac:spMk id="2" creationId="{45558E22-C79E-403E-A8DE-60C6B753DC5C}"/>
          </ac:spMkLst>
        </pc:spChg>
      </pc:sldChg>
      <pc:sldChg chg="addSp delSp modSp mod">
        <pc:chgData name="Kennie Pontoppidan" userId="0b66d239-c77c-454e-82ce-695a270d63fb" providerId="ADAL" clId="{11B5283E-F69C-413F-81B1-F3B8D4F6D7D3}" dt="2022-03-18T18:48:00.804" v="1334" actId="1076"/>
        <pc:sldMkLst>
          <pc:docMk/>
          <pc:sldMk cId="3877624883" sldId="2147469715"/>
        </pc:sldMkLst>
        <pc:spChg chg="mod">
          <ac:chgData name="Kennie Pontoppidan" userId="0b66d239-c77c-454e-82ce-695a270d63fb" providerId="ADAL" clId="{11B5283E-F69C-413F-81B1-F3B8D4F6D7D3}" dt="2022-03-18T18:30:43.676" v="895"/>
          <ac:spMkLst>
            <pc:docMk/>
            <pc:sldMk cId="3877624883" sldId="2147469715"/>
            <ac:spMk id="2" creationId="{9985D328-2701-4F04-B6E2-5FB69AC86FC0}"/>
          </ac:spMkLst>
        </pc:spChg>
        <pc:spChg chg="add del mod">
          <ac:chgData name="Kennie Pontoppidan" userId="0b66d239-c77c-454e-82ce-695a270d63fb" providerId="ADAL" clId="{11B5283E-F69C-413F-81B1-F3B8D4F6D7D3}" dt="2022-03-18T18:31:03.244" v="899" actId="478"/>
          <ac:spMkLst>
            <pc:docMk/>
            <pc:sldMk cId="3877624883" sldId="2147469715"/>
            <ac:spMk id="3" creationId="{AA249FF9-0569-470F-B833-B0FD7FE20014}"/>
          </ac:spMkLst>
        </pc:spChg>
        <pc:spChg chg="add mod">
          <ac:chgData name="Kennie Pontoppidan" userId="0b66d239-c77c-454e-82ce-695a270d63fb" providerId="ADAL" clId="{11B5283E-F69C-413F-81B1-F3B8D4F6D7D3}" dt="2022-03-18T18:48:00.299" v="1333" actId="1076"/>
          <ac:spMkLst>
            <pc:docMk/>
            <pc:sldMk cId="3877624883" sldId="2147469715"/>
            <ac:spMk id="6" creationId="{4DF379E8-9D33-40FA-BDA0-4F5A6457B02D}"/>
          </ac:spMkLst>
        </pc:spChg>
        <pc:picChg chg="mod">
          <ac:chgData name="Kennie Pontoppidan" userId="0b66d239-c77c-454e-82ce-695a270d63fb" providerId="ADAL" clId="{11B5283E-F69C-413F-81B1-F3B8D4F6D7D3}" dt="2022-03-18T18:48:00.804" v="1334" actId="1076"/>
          <ac:picMkLst>
            <pc:docMk/>
            <pc:sldMk cId="3877624883" sldId="2147469715"/>
            <ac:picMk id="4" creationId="{E9C2F12F-D576-4C81-A84D-53901A78F19D}"/>
          </ac:picMkLst>
        </pc:picChg>
      </pc:sldChg>
      <pc:sldChg chg="new del">
        <pc:chgData name="Kennie Pontoppidan" userId="0b66d239-c77c-454e-82ce-695a270d63fb" providerId="ADAL" clId="{11B5283E-F69C-413F-81B1-F3B8D4F6D7D3}" dt="2022-03-18T18:32:19.075" v="904" actId="47"/>
        <pc:sldMkLst>
          <pc:docMk/>
          <pc:sldMk cId="1326869476" sldId="2147469716"/>
        </pc:sldMkLst>
      </pc:sldChg>
      <pc:sldChg chg="modSp add mod">
        <pc:chgData name="Kennie Pontoppidan" userId="0b66d239-c77c-454e-82ce-695a270d63fb" providerId="ADAL" clId="{11B5283E-F69C-413F-81B1-F3B8D4F6D7D3}" dt="2022-03-18T18:32:32.104" v="918" actId="20577"/>
        <pc:sldMkLst>
          <pc:docMk/>
          <pc:sldMk cId="1351674321" sldId="2147469716"/>
        </pc:sldMkLst>
        <pc:spChg chg="mod">
          <ac:chgData name="Kennie Pontoppidan" userId="0b66d239-c77c-454e-82ce-695a270d63fb" providerId="ADAL" clId="{11B5283E-F69C-413F-81B1-F3B8D4F6D7D3}" dt="2022-03-18T18:32:32.104" v="918" actId="20577"/>
          <ac:spMkLst>
            <pc:docMk/>
            <pc:sldMk cId="1351674321" sldId="2147469716"/>
            <ac:spMk id="2" creationId="{065D2989-3562-4D1F-B70F-0DC4FB0BF914}"/>
          </ac:spMkLst>
        </pc:spChg>
      </pc:sldChg>
      <pc:sldChg chg="modSp mod">
        <pc:chgData name="Kennie Pontoppidan" userId="0b66d239-c77c-454e-82ce-695a270d63fb" providerId="ADAL" clId="{11B5283E-F69C-413F-81B1-F3B8D4F6D7D3}" dt="2022-03-18T18:33:18.864" v="938" actId="20577"/>
        <pc:sldMkLst>
          <pc:docMk/>
          <pc:sldMk cId="339509621" sldId="2147469717"/>
        </pc:sldMkLst>
        <pc:spChg chg="mod">
          <ac:chgData name="Kennie Pontoppidan" userId="0b66d239-c77c-454e-82ce-695a270d63fb" providerId="ADAL" clId="{11B5283E-F69C-413F-81B1-F3B8D4F6D7D3}" dt="2022-03-18T18:33:18.864" v="938" actId="20577"/>
          <ac:spMkLst>
            <pc:docMk/>
            <pc:sldMk cId="339509621" sldId="2147469717"/>
            <ac:spMk id="2" creationId="{065D2989-3562-4D1F-B70F-0DC4FB0BF914}"/>
          </ac:spMkLst>
        </pc:spChg>
      </pc:sldChg>
      <pc:sldChg chg="modSp mod">
        <pc:chgData name="Kennie Pontoppidan" userId="0b66d239-c77c-454e-82ce-695a270d63fb" providerId="ADAL" clId="{11B5283E-F69C-413F-81B1-F3B8D4F6D7D3}" dt="2022-03-18T18:33:24.238" v="939"/>
        <pc:sldMkLst>
          <pc:docMk/>
          <pc:sldMk cId="214892503" sldId="2147469718"/>
        </pc:sldMkLst>
        <pc:spChg chg="mod">
          <ac:chgData name="Kennie Pontoppidan" userId="0b66d239-c77c-454e-82ce-695a270d63fb" providerId="ADAL" clId="{11B5283E-F69C-413F-81B1-F3B8D4F6D7D3}" dt="2022-03-18T18:33:24.238" v="939"/>
          <ac:spMkLst>
            <pc:docMk/>
            <pc:sldMk cId="214892503" sldId="2147469718"/>
            <ac:spMk id="2" creationId="{065D2989-3562-4D1F-B70F-0DC4FB0BF914}"/>
          </ac:spMkLst>
        </pc:spChg>
      </pc:sldChg>
      <pc:sldChg chg="modSp mod">
        <pc:chgData name="Kennie Pontoppidan" userId="0b66d239-c77c-454e-82ce-695a270d63fb" providerId="ADAL" clId="{11B5283E-F69C-413F-81B1-F3B8D4F6D7D3}" dt="2022-03-18T18:33:26.674" v="940"/>
        <pc:sldMkLst>
          <pc:docMk/>
          <pc:sldMk cId="18796920" sldId="2147469719"/>
        </pc:sldMkLst>
        <pc:spChg chg="mod">
          <ac:chgData name="Kennie Pontoppidan" userId="0b66d239-c77c-454e-82ce-695a270d63fb" providerId="ADAL" clId="{11B5283E-F69C-413F-81B1-F3B8D4F6D7D3}" dt="2022-03-18T18:33:26.674" v="940"/>
          <ac:spMkLst>
            <pc:docMk/>
            <pc:sldMk cId="18796920" sldId="2147469719"/>
            <ac:spMk id="2" creationId="{065D2989-3562-4D1F-B70F-0DC4FB0BF914}"/>
          </ac:spMkLst>
        </pc:spChg>
      </pc:sldChg>
      <pc:sldChg chg="addSp delSp modSp new mod">
        <pc:chgData name="Kennie Pontoppidan" userId="0b66d239-c77c-454e-82ce-695a270d63fb" providerId="ADAL" clId="{11B5283E-F69C-413F-81B1-F3B8D4F6D7D3}" dt="2022-03-18T18:45:38.490" v="1283" actId="14100"/>
        <pc:sldMkLst>
          <pc:docMk/>
          <pc:sldMk cId="1441478685" sldId="2147469720"/>
        </pc:sldMkLst>
        <pc:spChg chg="mod">
          <ac:chgData name="Kennie Pontoppidan" userId="0b66d239-c77c-454e-82ce-695a270d63fb" providerId="ADAL" clId="{11B5283E-F69C-413F-81B1-F3B8D4F6D7D3}" dt="2022-03-18T18:39:20.062" v="1132" actId="14100"/>
          <ac:spMkLst>
            <pc:docMk/>
            <pc:sldMk cId="1441478685" sldId="2147469720"/>
            <ac:spMk id="2" creationId="{FF073DE2-6F98-495B-8A06-329F2A2BEB5B}"/>
          </ac:spMkLst>
        </pc:spChg>
        <pc:spChg chg="del">
          <ac:chgData name="Kennie Pontoppidan" userId="0b66d239-c77c-454e-82ce-695a270d63fb" providerId="ADAL" clId="{11B5283E-F69C-413F-81B1-F3B8D4F6D7D3}" dt="2022-03-18T18:34:28.694" v="961" actId="478"/>
          <ac:spMkLst>
            <pc:docMk/>
            <pc:sldMk cId="1441478685" sldId="2147469720"/>
            <ac:spMk id="3" creationId="{E5004391-485E-46B5-992C-F6DD04382DD5}"/>
          </ac:spMkLst>
        </pc:spChg>
        <pc:spChg chg="add mod">
          <ac:chgData name="Kennie Pontoppidan" userId="0b66d239-c77c-454e-82ce-695a270d63fb" providerId="ADAL" clId="{11B5283E-F69C-413F-81B1-F3B8D4F6D7D3}" dt="2022-03-18T18:45:22.822" v="1278" actId="14100"/>
          <ac:spMkLst>
            <pc:docMk/>
            <pc:sldMk cId="1441478685" sldId="2147469720"/>
            <ac:spMk id="6" creationId="{5BF67CD3-7078-4A96-9C59-36B6141ADB39}"/>
          </ac:spMkLst>
        </pc:spChg>
        <pc:spChg chg="add mod">
          <ac:chgData name="Kennie Pontoppidan" userId="0b66d239-c77c-454e-82ce-695a270d63fb" providerId="ADAL" clId="{11B5283E-F69C-413F-81B1-F3B8D4F6D7D3}" dt="2022-03-18T18:45:38.490" v="1283" actId="14100"/>
          <ac:spMkLst>
            <pc:docMk/>
            <pc:sldMk cId="1441478685" sldId="2147469720"/>
            <ac:spMk id="8" creationId="{7E18123C-CB4E-483D-950A-9E1BE7A8F6D5}"/>
          </ac:spMkLst>
        </pc:spChg>
        <pc:graphicFrameChg chg="add mod">
          <ac:chgData name="Kennie Pontoppidan" userId="0b66d239-c77c-454e-82ce-695a270d63fb" providerId="ADAL" clId="{11B5283E-F69C-413F-81B1-F3B8D4F6D7D3}" dt="2022-03-18T18:38:37.831" v="1090" actId="1076"/>
          <ac:graphicFrameMkLst>
            <pc:docMk/>
            <pc:sldMk cId="1441478685" sldId="2147469720"/>
            <ac:graphicFrameMk id="4" creationId="{3DC6836B-432A-4E40-BFC0-2CC6A80E7E0B}"/>
          </ac:graphicFrameMkLst>
        </pc:graphicFrameChg>
      </pc:sldChg>
      <pc:sldChg chg="addSp delSp modSp mod">
        <pc:chgData name="Kennie Pontoppidan" userId="0b66d239-c77c-454e-82ce-695a270d63fb" providerId="ADAL" clId="{11B5283E-F69C-413F-81B1-F3B8D4F6D7D3}" dt="2022-03-18T18:38:47.041" v="1092" actId="20577"/>
        <pc:sldMkLst>
          <pc:docMk/>
          <pc:sldMk cId="3979461953" sldId="2147469721"/>
        </pc:sldMkLst>
        <pc:spChg chg="mod">
          <ac:chgData name="Kennie Pontoppidan" userId="0b66d239-c77c-454e-82ce-695a270d63fb" providerId="ADAL" clId="{11B5283E-F69C-413F-81B1-F3B8D4F6D7D3}" dt="2022-03-18T18:38:47.041" v="1092" actId="20577"/>
          <ac:spMkLst>
            <pc:docMk/>
            <pc:sldMk cId="3979461953" sldId="2147469721"/>
            <ac:spMk id="2" creationId="{FF073DE2-6F98-495B-8A06-329F2A2BEB5B}"/>
          </ac:spMkLst>
        </pc:spChg>
        <pc:graphicFrameChg chg="add mod">
          <ac:chgData name="Kennie Pontoppidan" userId="0b66d239-c77c-454e-82ce-695a270d63fb" providerId="ADAL" clId="{11B5283E-F69C-413F-81B1-F3B8D4F6D7D3}" dt="2022-03-18T18:37:42.497" v="1041" actId="1076"/>
          <ac:graphicFrameMkLst>
            <pc:docMk/>
            <pc:sldMk cId="3979461953" sldId="2147469721"/>
            <ac:graphicFrameMk id="3" creationId="{7B1322E6-B9C0-45D8-8F74-997084775458}"/>
          </ac:graphicFrameMkLst>
        </pc:graphicFrameChg>
        <pc:graphicFrameChg chg="del">
          <ac:chgData name="Kennie Pontoppidan" userId="0b66d239-c77c-454e-82ce-695a270d63fb" providerId="ADAL" clId="{11B5283E-F69C-413F-81B1-F3B8D4F6D7D3}" dt="2022-03-18T18:37:34.735" v="1038" actId="478"/>
          <ac:graphicFrameMkLst>
            <pc:docMk/>
            <pc:sldMk cId="3979461953" sldId="2147469721"/>
            <ac:graphicFrameMk id="4" creationId="{3DC6836B-432A-4E40-BFC0-2CC6A80E7E0B}"/>
          </ac:graphicFrameMkLst>
        </pc:graphicFrameChg>
      </pc:sldChg>
      <pc:sldChg chg="addSp delSp modSp new mod">
        <pc:chgData name="Kennie Pontoppidan" userId="0b66d239-c77c-454e-82ce-695a270d63fb" providerId="ADAL" clId="{11B5283E-F69C-413F-81B1-F3B8D4F6D7D3}" dt="2022-03-18T18:38:52.435" v="1098" actId="20577"/>
        <pc:sldMkLst>
          <pc:docMk/>
          <pc:sldMk cId="1199291678" sldId="2147469722"/>
        </pc:sldMkLst>
        <pc:spChg chg="mod">
          <ac:chgData name="Kennie Pontoppidan" userId="0b66d239-c77c-454e-82ce-695a270d63fb" providerId="ADAL" clId="{11B5283E-F69C-413F-81B1-F3B8D4F6D7D3}" dt="2022-03-18T18:38:52.435" v="1098" actId="20577"/>
          <ac:spMkLst>
            <pc:docMk/>
            <pc:sldMk cId="1199291678" sldId="2147469722"/>
            <ac:spMk id="2" creationId="{8AE5A126-3E29-42E7-AA59-14CEC77302B8}"/>
          </ac:spMkLst>
        </pc:spChg>
        <pc:spChg chg="del">
          <ac:chgData name="Kennie Pontoppidan" userId="0b66d239-c77c-454e-82ce-695a270d63fb" providerId="ADAL" clId="{11B5283E-F69C-413F-81B1-F3B8D4F6D7D3}" dt="2022-03-18T18:37:50.735" v="1043" actId="478"/>
          <ac:spMkLst>
            <pc:docMk/>
            <pc:sldMk cId="1199291678" sldId="2147469722"/>
            <ac:spMk id="3" creationId="{444B3180-7C09-40C9-9540-4A0BBE271E93}"/>
          </ac:spMkLst>
        </pc:spChg>
        <pc:graphicFrameChg chg="add mod">
          <ac:chgData name="Kennie Pontoppidan" userId="0b66d239-c77c-454e-82ce-695a270d63fb" providerId="ADAL" clId="{11B5283E-F69C-413F-81B1-F3B8D4F6D7D3}" dt="2022-03-18T18:38:32.463" v="1089" actId="1076"/>
          <ac:graphicFrameMkLst>
            <pc:docMk/>
            <pc:sldMk cId="1199291678" sldId="2147469722"/>
            <ac:graphicFrameMk id="4" creationId="{8B68440C-A7D0-4A96-9289-3F3407232283}"/>
          </ac:graphicFrameMkLst>
        </pc:graphicFrameChg>
      </pc:sldChg>
      <pc:sldChg chg="addSp delSp modSp new mod">
        <pc:chgData name="Kennie Pontoppidan" userId="0b66d239-c77c-454e-82ce-695a270d63fb" providerId="ADAL" clId="{11B5283E-F69C-413F-81B1-F3B8D4F6D7D3}" dt="2022-03-18T18:44:25.916" v="1268" actId="164"/>
        <pc:sldMkLst>
          <pc:docMk/>
          <pc:sldMk cId="2950519824" sldId="2147469723"/>
        </pc:sldMkLst>
        <pc:spChg chg="mod">
          <ac:chgData name="Kennie Pontoppidan" userId="0b66d239-c77c-454e-82ce-695a270d63fb" providerId="ADAL" clId="{11B5283E-F69C-413F-81B1-F3B8D4F6D7D3}" dt="2022-03-18T18:41:08.362" v="1189" actId="20577"/>
          <ac:spMkLst>
            <pc:docMk/>
            <pc:sldMk cId="2950519824" sldId="2147469723"/>
            <ac:spMk id="2" creationId="{895F2FE5-82A4-431F-B062-9D7E07E73788}"/>
          </ac:spMkLst>
        </pc:spChg>
        <pc:spChg chg="del">
          <ac:chgData name="Kennie Pontoppidan" userId="0b66d239-c77c-454e-82ce-695a270d63fb" providerId="ADAL" clId="{11B5283E-F69C-413F-81B1-F3B8D4F6D7D3}" dt="2022-03-18T18:39:31.202" v="1134" actId="478"/>
          <ac:spMkLst>
            <pc:docMk/>
            <pc:sldMk cId="2950519824" sldId="2147469723"/>
            <ac:spMk id="3" creationId="{CE6375C5-1A20-4EA7-87A6-DE20F1D1DD3E}"/>
          </ac:spMkLst>
        </pc:spChg>
        <pc:spChg chg="add mod">
          <ac:chgData name="Kennie Pontoppidan" userId="0b66d239-c77c-454e-82ce-695a270d63fb" providerId="ADAL" clId="{11B5283E-F69C-413F-81B1-F3B8D4F6D7D3}" dt="2022-03-18T18:44:20.803" v="1267" actId="14100"/>
          <ac:spMkLst>
            <pc:docMk/>
            <pc:sldMk cId="2950519824" sldId="2147469723"/>
            <ac:spMk id="7" creationId="{EDA8A39F-53E8-46DB-AF63-28215D00CDCA}"/>
          </ac:spMkLst>
        </pc:spChg>
        <pc:grpChg chg="add">
          <ac:chgData name="Kennie Pontoppidan" userId="0b66d239-c77c-454e-82ce-695a270d63fb" providerId="ADAL" clId="{11B5283E-F69C-413F-81B1-F3B8D4F6D7D3}" dt="2022-03-18T18:44:25.916" v="1268" actId="164"/>
          <ac:grpSpMkLst>
            <pc:docMk/>
            <pc:sldMk cId="2950519824" sldId="2147469723"/>
            <ac:grpSpMk id="8" creationId="{B602EB71-4148-4B7B-BB5D-1C3BF28A547E}"/>
          </ac:grpSpMkLst>
        </pc:grpChg>
        <pc:graphicFrameChg chg="add del mod">
          <ac:chgData name="Kennie Pontoppidan" userId="0b66d239-c77c-454e-82ce-695a270d63fb" providerId="ADAL" clId="{11B5283E-F69C-413F-81B1-F3B8D4F6D7D3}" dt="2022-03-18T18:40:42.892" v="1138" actId="478"/>
          <ac:graphicFrameMkLst>
            <pc:docMk/>
            <pc:sldMk cId="2950519824" sldId="2147469723"/>
            <ac:graphicFrameMk id="4" creationId="{22A18AB7-732E-4CF2-BF66-1DB7613DD1DE}"/>
          </ac:graphicFrameMkLst>
        </pc:graphicFrameChg>
        <pc:graphicFrameChg chg="add mod">
          <ac:chgData name="Kennie Pontoppidan" userId="0b66d239-c77c-454e-82ce-695a270d63fb" providerId="ADAL" clId="{11B5283E-F69C-413F-81B1-F3B8D4F6D7D3}" dt="2022-03-18T18:44:03.732" v="1262" actId="1076"/>
          <ac:graphicFrameMkLst>
            <pc:docMk/>
            <pc:sldMk cId="2950519824" sldId="2147469723"/>
            <ac:graphicFrameMk id="5" creationId="{F8B5255B-93F2-4AC8-BCDA-3E877A2C11CD}"/>
          </ac:graphicFrameMkLst>
        </pc:graphicFrameChg>
      </pc:sldChg>
      <pc:sldChg chg="addSp delSp modSp new mod">
        <pc:chgData name="Kennie Pontoppidan" userId="0b66d239-c77c-454e-82ce-695a270d63fb" providerId="ADAL" clId="{11B5283E-F69C-413F-81B1-F3B8D4F6D7D3}" dt="2022-03-18T18:44:53.525" v="1274" actId="14100"/>
        <pc:sldMkLst>
          <pc:docMk/>
          <pc:sldMk cId="2317341955" sldId="2147469724"/>
        </pc:sldMkLst>
        <pc:spChg chg="mod">
          <ac:chgData name="Kennie Pontoppidan" userId="0b66d239-c77c-454e-82ce-695a270d63fb" providerId="ADAL" clId="{11B5283E-F69C-413F-81B1-F3B8D4F6D7D3}" dt="2022-03-18T18:43:34.911" v="1258" actId="6549"/>
          <ac:spMkLst>
            <pc:docMk/>
            <pc:sldMk cId="2317341955" sldId="2147469724"/>
            <ac:spMk id="2" creationId="{6CBB9812-DAC2-474B-8D53-9BA1322A4216}"/>
          </ac:spMkLst>
        </pc:spChg>
        <pc:spChg chg="del">
          <ac:chgData name="Kennie Pontoppidan" userId="0b66d239-c77c-454e-82ce-695a270d63fb" providerId="ADAL" clId="{11B5283E-F69C-413F-81B1-F3B8D4F6D7D3}" dt="2022-03-18T18:43:00.112" v="1191" actId="478"/>
          <ac:spMkLst>
            <pc:docMk/>
            <pc:sldMk cId="2317341955" sldId="2147469724"/>
            <ac:spMk id="3" creationId="{C12972C1-E3EA-48BC-84A3-5F0B703853EF}"/>
          </ac:spMkLst>
        </pc:spChg>
        <pc:spChg chg="add mod">
          <ac:chgData name="Kennie Pontoppidan" userId="0b66d239-c77c-454e-82ce-695a270d63fb" providerId="ADAL" clId="{11B5283E-F69C-413F-81B1-F3B8D4F6D7D3}" dt="2022-03-18T18:44:53.525" v="1274" actId="14100"/>
          <ac:spMkLst>
            <pc:docMk/>
            <pc:sldMk cId="2317341955" sldId="2147469724"/>
            <ac:spMk id="6" creationId="{AC105779-1EC2-4F37-8A93-6A6371ECDCC5}"/>
          </ac:spMkLst>
        </pc:spChg>
        <pc:graphicFrameChg chg="add mod">
          <ac:chgData name="Kennie Pontoppidan" userId="0b66d239-c77c-454e-82ce-695a270d63fb" providerId="ADAL" clId="{11B5283E-F69C-413F-81B1-F3B8D4F6D7D3}" dt="2022-03-18T18:43:08.301" v="1194" actId="1076"/>
          <ac:graphicFrameMkLst>
            <pc:docMk/>
            <pc:sldMk cId="2317341955" sldId="2147469724"/>
            <ac:graphicFrameMk id="4" creationId="{4FF2A3BF-B914-480A-A1A6-00435F0E358D}"/>
          </ac:graphicFrameMkLst>
        </pc:graphicFrameChg>
      </pc:sldChg>
      <pc:sldChg chg="addSp delSp modSp new del mod">
        <pc:chgData name="Kennie Pontoppidan" userId="0b66d239-c77c-454e-82ce-695a270d63fb" providerId="ADAL" clId="{11B5283E-F69C-413F-81B1-F3B8D4F6D7D3}" dt="2022-03-18T23:17:53.153" v="2722" actId="47"/>
        <pc:sldMkLst>
          <pc:docMk/>
          <pc:sldMk cId="3690618559" sldId="2147469725"/>
        </pc:sldMkLst>
        <pc:spChg chg="mod">
          <ac:chgData name="Kennie Pontoppidan" userId="0b66d239-c77c-454e-82ce-695a270d63fb" providerId="ADAL" clId="{11B5283E-F69C-413F-81B1-F3B8D4F6D7D3}" dt="2022-03-18T23:02:37.948" v="2346" actId="20577"/>
          <ac:spMkLst>
            <pc:docMk/>
            <pc:sldMk cId="3690618559" sldId="2147469725"/>
            <ac:spMk id="2" creationId="{B0E8BA5F-103B-46B5-B4BA-381FC605A6A0}"/>
          </ac:spMkLst>
        </pc:spChg>
        <pc:spChg chg="del">
          <ac:chgData name="Kennie Pontoppidan" userId="0b66d239-c77c-454e-82ce-695a270d63fb" providerId="ADAL" clId="{11B5283E-F69C-413F-81B1-F3B8D4F6D7D3}" dt="2022-03-18T19:06:40.067" v="1430" actId="478"/>
          <ac:spMkLst>
            <pc:docMk/>
            <pc:sldMk cId="3690618559" sldId="2147469725"/>
            <ac:spMk id="3" creationId="{3E4257A3-454B-43B1-A2C0-CBC06DAB9FCC}"/>
          </ac:spMkLst>
        </pc:spChg>
        <pc:graphicFrameChg chg="add mod">
          <ac:chgData name="Kennie Pontoppidan" userId="0b66d239-c77c-454e-82ce-695a270d63fb" providerId="ADAL" clId="{11B5283E-F69C-413F-81B1-F3B8D4F6D7D3}" dt="2022-03-18T19:27:16.136" v="1622" actId="1076"/>
          <ac:graphicFrameMkLst>
            <pc:docMk/>
            <pc:sldMk cId="3690618559" sldId="2147469725"/>
            <ac:graphicFrameMk id="3" creationId="{8D1174A7-0BB3-4344-B2E4-5F1DAF2BDD78}"/>
          </ac:graphicFrameMkLst>
        </pc:graphicFrameChg>
        <pc:graphicFrameChg chg="add del mod">
          <ac:chgData name="Kennie Pontoppidan" userId="0b66d239-c77c-454e-82ce-695a270d63fb" providerId="ADAL" clId="{11B5283E-F69C-413F-81B1-F3B8D4F6D7D3}" dt="2022-03-18T19:27:14.643" v="1621" actId="478"/>
          <ac:graphicFrameMkLst>
            <pc:docMk/>
            <pc:sldMk cId="3690618559" sldId="2147469725"/>
            <ac:graphicFrameMk id="4" creationId="{1F7A8859-40BC-48AB-812B-157DB9B57DBF}"/>
          </ac:graphicFrameMkLst>
        </pc:graphicFrameChg>
        <pc:graphicFrameChg chg="add mod">
          <ac:chgData name="Kennie Pontoppidan" userId="0b66d239-c77c-454e-82ce-695a270d63fb" providerId="ADAL" clId="{11B5283E-F69C-413F-81B1-F3B8D4F6D7D3}" dt="2022-03-18T19:13:08.633" v="1487" actId="1076"/>
          <ac:graphicFrameMkLst>
            <pc:docMk/>
            <pc:sldMk cId="3690618559" sldId="2147469725"/>
            <ac:graphicFrameMk id="5" creationId="{5F2BF545-FEB2-41FD-A104-C95A4A3A2A41}"/>
          </ac:graphicFrameMkLst>
        </pc:graphicFrameChg>
        <pc:picChg chg="add del mod">
          <ac:chgData name="Kennie Pontoppidan" userId="0b66d239-c77c-454e-82ce-695a270d63fb" providerId="ADAL" clId="{11B5283E-F69C-413F-81B1-F3B8D4F6D7D3}" dt="2022-03-18T19:09:21.216" v="1473" actId="21"/>
          <ac:picMkLst>
            <pc:docMk/>
            <pc:sldMk cId="3690618559" sldId="2147469725"/>
            <ac:picMk id="9218" creationId="{3A185EF2-2658-4645-9396-8D9C857C54D8}"/>
          </ac:picMkLst>
        </pc:picChg>
        <pc:picChg chg="add del mod">
          <ac:chgData name="Kennie Pontoppidan" userId="0b66d239-c77c-454e-82ce-695a270d63fb" providerId="ADAL" clId="{11B5283E-F69C-413F-81B1-F3B8D4F6D7D3}" dt="2022-03-18T19:12:06.439" v="1483" actId="478"/>
          <ac:picMkLst>
            <pc:docMk/>
            <pc:sldMk cId="3690618559" sldId="2147469725"/>
            <ac:picMk id="9219" creationId="{DC281343-A5F5-45CD-813A-6507EBD3D63D}"/>
          </ac:picMkLst>
        </pc:picChg>
        <pc:picChg chg="add mod">
          <ac:chgData name="Kennie Pontoppidan" userId="0b66d239-c77c-454e-82ce-695a270d63fb" providerId="ADAL" clId="{11B5283E-F69C-413F-81B1-F3B8D4F6D7D3}" dt="2022-03-18T19:20:58.322" v="1615" actId="1076"/>
          <ac:picMkLst>
            <pc:docMk/>
            <pc:sldMk cId="3690618559" sldId="2147469725"/>
            <ac:picMk id="9220" creationId="{3B20D2A4-57D8-40ED-A735-F33861E0B65A}"/>
          </ac:picMkLst>
        </pc:picChg>
      </pc:sldChg>
      <pc:sldChg chg="addSp delSp modSp new del mod">
        <pc:chgData name="Kennie Pontoppidan" userId="0b66d239-c77c-454e-82ce-695a270d63fb" providerId="ADAL" clId="{11B5283E-F69C-413F-81B1-F3B8D4F6D7D3}" dt="2022-03-18T23:47:59.774" v="3511" actId="47"/>
        <pc:sldMkLst>
          <pc:docMk/>
          <pc:sldMk cId="3710761654" sldId="2147469726"/>
        </pc:sldMkLst>
        <pc:spChg chg="mod">
          <ac:chgData name="Kennie Pontoppidan" userId="0b66d239-c77c-454e-82ce-695a270d63fb" providerId="ADAL" clId="{11B5283E-F69C-413F-81B1-F3B8D4F6D7D3}" dt="2022-03-18T23:01:38.367" v="2327" actId="20577"/>
          <ac:spMkLst>
            <pc:docMk/>
            <pc:sldMk cId="3710761654" sldId="2147469726"/>
            <ac:spMk id="2" creationId="{B2443D71-D9F6-48F1-9506-6F62F862D88E}"/>
          </ac:spMkLst>
        </pc:spChg>
        <pc:spChg chg="del">
          <ac:chgData name="Kennie Pontoppidan" userId="0b66d239-c77c-454e-82ce-695a270d63fb" providerId="ADAL" clId="{11B5283E-F69C-413F-81B1-F3B8D4F6D7D3}" dt="2022-03-18T19:07:38.321" v="1466" actId="478"/>
          <ac:spMkLst>
            <pc:docMk/>
            <pc:sldMk cId="3710761654" sldId="2147469726"/>
            <ac:spMk id="3" creationId="{23E19D7D-01A8-4D45-95AA-5F279A4ACE14}"/>
          </ac:spMkLst>
        </pc:spChg>
        <pc:graphicFrameChg chg="add mod">
          <ac:chgData name="Kennie Pontoppidan" userId="0b66d239-c77c-454e-82ce-695a270d63fb" providerId="ADAL" clId="{11B5283E-F69C-413F-81B1-F3B8D4F6D7D3}" dt="2022-03-18T19:15:12.025" v="1491" actId="1076"/>
          <ac:graphicFrameMkLst>
            <pc:docMk/>
            <pc:sldMk cId="3710761654" sldId="2147469726"/>
            <ac:graphicFrameMk id="5" creationId="{85023F2D-0832-4CC0-B490-C6CC10267B3A}"/>
          </ac:graphicFrameMkLst>
        </pc:graphicFrameChg>
        <pc:picChg chg="add mod">
          <ac:chgData name="Kennie Pontoppidan" userId="0b66d239-c77c-454e-82ce-695a270d63fb" providerId="ADAL" clId="{11B5283E-F69C-413F-81B1-F3B8D4F6D7D3}" dt="2022-03-18T19:15:17.122" v="1494" actId="1076"/>
          <ac:picMkLst>
            <pc:docMk/>
            <pc:sldMk cId="3710761654" sldId="2147469726"/>
            <ac:picMk id="4" creationId="{FC714B64-525A-47F2-8B16-B67BDF4614E5}"/>
          </ac:picMkLst>
        </pc:picChg>
        <pc:picChg chg="add del mod">
          <ac:chgData name="Kennie Pontoppidan" userId="0b66d239-c77c-454e-82ce-695a270d63fb" providerId="ADAL" clId="{11B5283E-F69C-413F-81B1-F3B8D4F6D7D3}" dt="2022-03-18T19:15:06.465" v="1489" actId="478"/>
          <ac:picMkLst>
            <pc:docMk/>
            <pc:sldMk cId="3710761654" sldId="2147469726"/>
            <ac:picMk id="10242" creationId="{6CD3AE99-1EE1-411E-B112-3BF5908E2B14}"/>
          </ac:picMkLst>
        </pc:picChg>
        <pc:picChg chg="add del mod">
          <ac:chgData name="Kennie Pontoppidan" userId="0b66d239-c77c-454e-82ce-695a270d63fb" providerId="ADAL" clId="{11B5283E-F69C-413F-81B1-F3B8D4F6D7D3}" dt="2022-03-18T19:15:09.180" v="1490" actId="478"/>
          <ac:picMkLst>
            <pc:docMk/>
            <pc:sldMk cId="3710761654" sldId="2147469726"/>
            <ac:picMk id="10243" creationId="{01DA672F-04BF-4CCE-9819-B22B713340FA}"/>
          </ac:picMkLst>
        </pc:picChg>
        <pc:picChg chg="add mod">
          <ac:chgData name="Kennie Pontoppidan" userId="0b66d239-c77c-454e-82ce-695a270d63fb" providerId="ADAL" clId="{11B5283E-F69C-413F-81B1-F3B8D4F6D7D3}" dt="2022-03-18T19:15:18.201" v="1495" actId="1076"/>
          <ac:picMkLst>
            <pc:docMk/>
            <pc:sldMk cId="3710761654" sldId="2147469726"/>
            <ac:picMk id="10244" creationId="{AB3C0CA2-E372-4EC2-BDC9-2C500626576A}"/>
          </ac:picMkLst>
        </pc:picChg>
      </pc:sldChg>
      <pc:sldChg chg="addSp delSp modSp new mod ord">
        <pc:chgData name="Kennie Pontoppidan" userId="0b66d239-c77c-454e-82ce-695a270d63fb" providerId="ADAL" clId="{11B5283E-F69C-413F-81B1-F3B8D4F6D7D3}" dt="2022-03-18T23:48:55.343" v="3531"/>
        <pc:sldMkLst>
          <pc:docMk/>
          <pc:sldMk cId="3241012515" sldId="2147469727"/>
        </pc:sldMkLst>
        <pc:spChg chg="mod">
          <ac:chgData name="Kennie Pontoppidan" userId="0b66d239-c77c-454e-82ce-695a270d63fb" providerId="ADAL" clId="{11B5283E-F69C-413F-81B1-F3B8D4F6D7D3}" dt="2022-03-18T22:52:04.410" v="1688" actId="20577"/>
          <ac:spMkLst>
            <pc:docMk/>
            <pc:sldMk cId="3241012515" sldId="2147469727"/>
            <ac:spMk id="2" creationId="{7DBDEC08-74F5-41FB-B845-86AE5C027CB6}"/>
          </ac:spMkLst>
        </pc:spChg>
        <pc:spChg chg="add del mod">
          <ac:chgData name="Kennie Pontoppidan" userId="0b66d239-c77c-454e-82ce-695a270d63fb" providerId="ADAL" clId="{11B5283E-F69C-413F-81B1-F3B8D4F6D7D3}" dt="2022-03-18T22:55:33.959" v="1977" actId="6549"/>
          <ac:spMkLst>
            <pc:docMk/>
            <pc:sldMk cId="3241012515" sldId="2147469727"/>
            <ac:spMk id="3" creationId="{DE40DC2F-BD93-4D49-8D1A-32056B7820C6}"/>
          </ac:spMkLst>
        </pc:spChg>
      </pc:sldChg>
      <pc:sldChg chg="addSp modSp new mod ord">
        <pc:chgData name="Kennie Pontoppidan" userId="0b66d239-c77c-454e-82ce-695a270d63fb" providerId="ADAL" clId="{11B5283E-F69C-413F-81B1-F3B8D4F6D7D3}" dt="2022-03-19T20:28:52.768" v="4875" actId="20577"/>
        <pc:sldMkLst>
          <pc:docMk/>
          <pc:sldMk cId="1287372244" sldId="2147469728"/>
        </pc:sldMkLst>
        <pc:spChg chg="mod">
          <ac:chgData name="Kennie Pontoppidan" userId="0b66d239-c77c-454e-82ce-695a270d63fb" providerId="ADAL" clId="{11B5283E-F69C-413F-81B1-F3B8D4F6D7D3}" dt="2022-03-19T20:27:04.723" v="4782" actId="20577"/>
          <ac:spMkLst>
            <pc:docMk/>
            <pc:sldMk cId="1287372244" sldId="2147469728"/>
            <ac:spMk id="2" creationId="{65479123-5D31-4E00-A91C-2FF9F33A8E9E}"/>
          </ac:spMkLst>
        </pc:spChg>
        <pc:spChg chg="mod">
          <ac:chgData name="Kennie Pontoppidan" userId="0b66d239-c77c-454e-82ce-695a270d63fb" providerId="ADAL" clId="{11B5283E-F69C-413F-81B1-F3B8D4F6D7D3}" dt="2022-03-19T20:28:52.768" v="4875" actId="20577"/>
          <ac:spMkLst>
            <pc:docMk/>
            <pc:sldMk cId="1287372244" sldId="2147469728"/>
            <ac:spMk id="3" creationId="{0200CCF9-2A94-4E8F-816A-092C15C37A8B}"/>
          </ac:spMkLst>
        </pc:spChg>
        <pc:spChg chg="add mod">
          <ac:chgData name="Kennie Pontoppidan" userId="0b66d239-c77c-454e-82ce-695a270d63fb" providerId="ADAL" clId="{11B5283E-F69C-413F-81B1-F3B8D4F6D7D3}" dt="2022-03-19T20:28:24.326" v="4830" actId="1076"/>
          <ac:spMkLst>
            <pc:docMk/>
            <pc:sldMk cId="1287372244" sldId="2147469728"/>
            <ac:spMk id="7" creationId="{3DAAF1AD-765E-4277-AD07-63CEA9A57E23}"/>
          </ac:spMkLst>
        </pc:spChg>
        <pc:spChg chg="add mod">
          <ac:chgData name="Kennie Pontoppidan" userId="0b66d239-c77c-454e-82ce-695a270d63fb" providerId="ADAL" clId="{11B5283E-F69C-413F-81B1-F3B8D4F6D7D3}" dt="2022-03-19T20:28:33.417" v="4835" actId="14100"/>
          <ac:spMkLst>
            <pc:docMk/>
            <pc:sldMk cId="1287372244" sldId="2147469728"/>
            <ac:spMk id="9" creationId="{BBD070F1-1DAB-4B61-9E2B-A5E905C006A4}"/>
          </ac:spMkLst>
        </pc:spChg>
        <pc:graphicFrameChg chg="add mod">
          <ac:chgData name="Kennie Pontoppidan" userId="0b66d239-c77c-454e-82ce-695a270d63fb" providerId="ADAL" clId="{11B5283E-F69C-413F-81B1-F3B8D4F6D7D3}" dt="2022-03-19T20:27:47.784" v="4791" actId="14100"/>
          <ac:graphicFrameMkLst>
            <pc:docMk/>
            <pc:sldMk cId="1287372244" sldId="2147469728"/>
            <ac:graphicFrameMk id="5" creationId="{D86E47A8-F848-4D9B-B409-9028FBE34702}"/>
          </ac:graphicFrameMkLst>
        </pc:graphicFrameChg>
      </pc:sldChg>
      <pc:sldChg chg="modSp add mod ord">
        <pc:chgData name="Kennie Pontoppidan" userId="0b66d239-c77c-454e-82ce-695a270d63fb" providerId="ADAL" clId="{11B5283E-F69C-413F-81B1-F3B8D4F6D7D3}" dt="2022-03-18T23:48:55.343" v="3531"/>
        <pc:sldMkLst>
          <pc:docMk/>
          <pc:sldMk cId="2113554204" sldId="2147469729"/>
        </pc:sldMkLst>
        <pc:spChg chg="mod">
          <ac:chgData name="Kennie Pontoppidan" userId="0b66d239-c77c-454e-82ce-695a270d63fb" providerId="ADAL" clId="{11B5283E-F69C-413F-81B1-F3B8D4F6D7D3}" dt="2022-03-18T22:59:25.977" v="2192" actId="20577"/>
          <ac:spMkLst>
            <pc:docMk/>
            <pc:sldMk cId="2113554204" sldId="2147469729"/>
            <ac:spMk id="2" creationId="{65479123-5D31-4E00-A91C-2FF9F33A8E9E}"/>
          </ac:spMkLst>
        </pc:spChg>
        <pc:spChg chg="mod">
          <ac:chgData name="Kennie Pontoppidan" userId="0b66d239-c77c-454e-82ce-695a270d63fb" providerId="ADAL" clId="{11B5283E-F69C-413F-81B1-F3B8D4F6D7D3}" dt="2022-03-18T23:00:19.842" v="2318" actId="20577"/>
          <ac:spMkLst>
            <pc:docMk/>
            <pc:sldMk cId="2113554204" sldId="2147469729"/>
            <ac:spMk id="3" creationId="{0200CCF9-2A94-4E8F-816A-092C15C37A8B}"/>
          </ac:spMkLst>
        </pc:spChg>
      </pc:sldChg>
      <pc:sldChg chg="addSp delSp modSp new mod modClrScheme chgLayout">
        <pc:chgData name="Kennie Pontoppidan" userId="0b66d239-c77c-454e-82ce-695a270d63fb" providerId="ADAL" clId="{11B5283E-F69C-413F-81B1-F3B8D4F6D7D3}" dt="2022-03-18T23:06:50.927" v="2451" actId="478"/>
        <pc:sldMkLst>
          <pc:docMk/>
          <pc:sldMk cId="2684980996" sldId="2147469730"/>
        </pc:sldMkLst>
        <pc:spChg chg="del mod ord">
          <ac:chgData name="Kennie Pontoppidan" userId="0b66d239-c77c-454e-82ce-695a270d63fb" providerId="ADAL" clId="{11B5283E-F69C-413F-81B1-F3B8D4F6D7D3}" dt="2022-03-18T23:02:14.028" v="2329" actId="700"/>
          <ac:spMkLst>
            <pc:docMk/>
            <pc:sldMk cId="2684980996" sldId="2147469730"/>
            <ac:spMk id="2" creationId="{50B015CD-B143-4781-B120-F56AC8906B22}"/>
          </ac:spMkLst>
        </pc:spChg>
        <pc:spChg chg="del mod ord">
          <ac:chgData name="Kennie Pontoppidan" userId="0b66d239-c77c-454e-82ce-695a270d63fb" providerId="ADAL" clId="{11B5283E-F69C-413F-81B1-F3B8D4F6D7D3}" dt="2022-03-18T23:02:14.028" v="2329" actId="700"/>
          <ac:spMkLst>
            <pc:docMk/>
            <pc:sldMk cId="2684980996" sldId="2147469730"/>
            <ac:spMk id="3" creationId="{E2773990-9AED-489C-BE7B-0005F9A01459}"/>
          </ac:spMkLst>
        </pc:spChg>
        <pc:spChg chg="add mod ord">
          <ac:chgData name="Kennie Pontoppidan" userId="0b66d239-c77c-454e-82ce-695a270d63fb" providerId="ADAL" clId="{11B5283E-F69C-413F-81B1-F3B8D4F6D7D3}" dt="2022-03-18T23:06:38.217" v="2448" actId="700"/>
          <ac:spMkLst>
            <pc:docMk/>
            <pc:sldMk cId="2684980996" sldId="2147469730"/>
            <ac:spMk id="4" creationId="{7E568EDC-3C04-458F-A1B2-BF32BBB672B1}"/>
          </ac:spMkLst>
        </pc:spChg>
        <pc:spChg chg="add del mod ord">
          <ac:chgData name="Kennie Pontoppidan" userId="0b66d239-c77c-454e-82ce-695a270d63fb" providerId="ADAL" clId="{11B5283E-F69C-413F-81B1-F3B8D4F6D7D3}" dt="2022-03-18T23:04:18.958" v="2389" actId="478"/>
          <ac:spMkLst>
            <pc:docMk/>
            <pc:sldMk cId="2684980996" sldId="2147469730"/>
            <ac:spMk id="5" creationId="{D64A0E37-F258-4D20-90BD-4B7E7EE0F9D9}"/>
          </ac:spMkLst>
        </pc:spChg>
        <pc:spChg chg="add mod ord">
          <ac:chgData name="Kennie Pontoppidan" userId="0b66d239-c77c-454e-82ce-695a270d63fb" providerId="ADAL" clId="{11B5283E-F69C-413F-81B1-F3B8D4F6D7D3}" dt="2022-03-18T23:06:38.217" v="2448" actId="700"/>
          <ac:spMkLst>
            <pc:docMk/>
            <pc:sldMk cId="2684980996" sldId="2147469730"/>
            <ac:spMk id="6" creationId="{EFE9E6E6-F742-483A-8C90-1223916213CA}"/>
          </ac:spMkLst>
        </pc:spChg>
        <pc:spChg chg="add del mod ord">
          <ac:chgData name="Kennie Pontoppidan" userId="0b66d239-c77c-454e-82ce-695a270d63fb" providerId="ADAL" clId="{11B5283E-F69C-413F-81B1-F3B8D4F6D7D3}" dt="2022-03-18T23:06:50.927" v="2451" actId="478"/>
          <ac:spMkLst>
            <pc:docMk/>
            <pc:sldMk cId="2684980996" sldId="2147469730"/>
            <ac:spMk id="9" creationId="{A9FF65DC-7857-4032-A132-E738F10C0F99}"/>
          </ac:spMkLst>
        </pc:spChg>
        <pc:graphicFrameChg chg="add del mod">
          <ac:chgData name="Kennie Pontoppidan" userId="0b66d239-c77c-454e-82ce-695a270d63fb" providerId="ADAL" clId="{11B5283E-F69C-413F-81B1-F3B8D4F6D7D3}" dt="2022-03-18T23:06:33.560" v="2445" actId="478"/>
          <ac:graphicFrameMkLst>
            <pc:docMk/>
            <pc:sldMk cId="2684980996" sldId="2147469730"/>
            <ac:graphicFrameMk id="7" creationId="{00776791-9833-4277-B1EB-ACF0C836C400}"/>
          </ac:graphicFrameMkLst>
        </pc:graphicFrameChg>
        <pc:graphicFrameChg chg="add mod">
          <ac:chgData name="Kennie Pontoppidan" userId="0b66d239-c77c-454e-82ce-695a270d63fb" providerId="ADAL" clId="{11B5283E-F69C-413F-81B1-F3B8D4F6D7D3}" dt="2022-03-18T23:06:46.899" v="2450" actId="14100"/>
          <ac:graphicFrameMkLst>
            <pc:docMk/>
            <pc:sldMk cId="2684980996" sldId="2147469730"/>
            <ac:graphicFrameMk id="8" creationId="{D4F1FB5F-D9B3-4E6F-A52C-8AFF46709531}"/>
          </ac:graphicFrameMkLst>
        </pc:graphicFrameChg>
      </pc:sldChg>
      <pc:sldChg chg="add del">
        <pc:chgData name="Kennie Pontoppidan" userId="0b66d239-c77c-454e-82ce-695a270d63fb" providerId="ADAL" clId="{11B5283E-F69C-413F-81B1-F3B8D4F6D7D3}" dt="2022-03-18T23:02:45.020" v="2348" actId="47"/>
        <pc:sldMkLst>
          <pc:docMk/>
          <pc:sldMk cId="2750619625" sldId="2147469731"/>
        </pc:sldMkLst>
      </pc:sldChg>
      <pc:sldChg chg="addSp delSp modSp add mod chgLayout">
        <pc:chgData name="Kennie Pontoppidan" userId="0b66d239-c77c-454e-82ce-695a270d63fb" providerId="ADAL" clId="{11B5283E-F69C-413F-81B1-F3B8D4F6D7D3}" dt="2022-03-18T23:06:09.687" v="2444" actId="20577"/>
        <pc:sldMkLst>
          <pc:docMk/>
          <pc:sldMk cId="3437520680" sldId="2147469731"/>
        </pc:sldMkLst>
        <pc:spChg chg="add mod ord">
          <ac:chgData name="Kennie Pontoppidan" userId="0b66d239-c77c-454e-82ce-695a270d63fb" providerId="ADAL" clId="{11B5283E-F69C-413F-81B1-F3B8D4F6D7D3}" dt="2022-03-18T23:05:27.557" v="2394" actId="700"/>
          <ac:spMkLst>
            <pc:docMk/>
            <pc:sldMk cId="3437520680" sldId="2147469731"/>
            <ac:spMk id="3" creationId="{4FD9909A-FBE9-4751-B5E7-3B5D557BBAD4}"/>
          </ac:spMkLst>
        </pc:spChg>
        <pc:spChg chg="mod ord">
          <ac:chgData name="Kennie Pontoppidan" userId="0b66d239-c77c-454e-82ce-695a270d63fb" providerId="ADAL" clId="{11B5283E-F69C-413F-81B1-F3B8D4F6D7D3}" dt="2022-03-18T23:05:41.278" v="2406" actId="20577"/>
          <ac:spMkLst>
            <pc:docMk/>
            <pc:sldMk cId="3437520680" sldId="2147469731"/>
            <ac:spMk id="4" creationId="{7E568EDC-3C04-458F-A1B2-BF32BBB672B1}"/>
          </ac:spMkLst>
        </pc:spChg>
        <pc:spChg chg="mod ord">
          <ac:chgData name="Kennie Pontoppidan" userId="0b66d239-c77c-454e-82ce-695a270d63fb" providerId="ADAL" clId="{11B5283E-F69C-413F-81B1-F3B8D4F6D7D3}" dt="2022-03-18T23:06:09.687" v="2444" actId="20577"/>
          <ac:spMkLst>
            <pc:docMk/>
            <pc:sldMk cId="3437520680" sldId="2147469731"/>
            <ac:spMk id="6" creationId="{EFE9E6E6-F742-483A-8C90-1223916213CA}"/>
          </ac:spMkLst>
        </pc:spChg>
        <pc:graphicFrameChg chg="add mod">
          <ac:chgData name="Kennie Pontoppidan" userId="0b66d239-c77c-454e-82ce-695a270d63fb" providerId="ADAL" clId="{11B5283E-F69C-413F-81B1-F3B8D4F6D7D3}" dt="2022-03-18T23:05:32.578" v="2396" actId="14100"/>
          <ac:graphicFrameMkLst>
            <pc:docMk/>
            <pc:sldMk cId="3437520680" sldId="2147469731"/>
            <ac:graphicFrameMk id="2" creationId="{5B570CBB-573F-4885-8B86-D4F69AB46B74}"/>
          </ac:graphicFrameMkLst>
        </pc:graphicFrameChg>
        <pc:graphicFrameChg chg="del">
          <ac:chgData name="Kennie Pontoppidan" userId="0b66d239-c77c-454e-82ce-695a270d63fb" providerId="ADAL" clId="{11B5283E-F69C-413F-81B1-F3B8D4F6D7D3}" dt="2022-03-18T23:05:21.308" v="2391" actId="478"/>
          <ac:graphicFrameMkLst>
            <pc:docMk/>
            <pc:sldMk cId="3437520680" sldId="2147469731"/>
            <ac:graphicFrameMk id="7" creationId="{00776791-9833-4277-B1EB-ACF0C836C400}"/>
          </ac:graphicFrameMkLst>
        </pc:graphicFrameChg>
      </pc:sldChg>
      <pc:sldChg chg="addSp delSp modSp add mod">
        <pc:chgData name="Kennie Pontoppidan" userId="0b66d239-c77c-454e-82ce-695a270d63fb" providerId="ADAL" clId="{11B5283E-F69C-413F-81B1-F3B8D4F6D7D3}" dt="2022-03-18T23:08:27.049" v="2537" actId="20577"/>
        <pc:sldMkLst>
          <pc:docMk/>
          <pc:sldMk cId="2808589080" sldId="2147469732"/>
        </pc:sldMkLst>
        <pc:spChg chg="mod">
          <ac:chgData name="Kennie Pontoppidan" userId="0b66d239-c77c-454e-82ce-695a270d63fb" providerId="ADAL" clId="{11B5283E-F69C-413F-81B1-F3B8D4F6D7D3}" dt="2022-03-18T23:08:00.267" v="2464" actId="20577"/>
          <ac:spMkLst>
            <pc:docMk/>
            <pc:sldMk cId="2808589080" sldId="2147469732"/>
            <ac:spMk id="4" creationId="{7E568EDC-3C04-458F-A1B2-BF32BBB672B1}"/>
          </ac:spMkLst>
        </pc:spChg>
        <pc:spChg chg="mod">
          <ac:chgData name="Kennie Pontoppidan" userId="0b66d239-c77c-454e-82ce-695a270d63fb" providerId="ADAL" clId="{11B5283E-F69C-413F-81B1-F3B8D4F6D7D3}" dt="2022-03-18T23:08:27.049" v="2537" actId="20577"/>
          <ac:spMkLst>
            <pc:docMk/>
            <pc:sldMk cId="2808589080" sldId="2147469732"/>
            <ac:spMk id="6" creationId="{EFE9E6E6-F742-483A-8C90-1223916213CA}"/>
          </ac:spMkLst>
        </pc:spChg>
        <pc:graphicFrameChg chg="del">
          <ac:chgData name="Kennie Pontoppidan" userId="0b66d239-c77c-454e-82ce-695a270d63fb" providerId="ADAL" clId="{11B5283E-F69C-413F-81B1-F3B8D4F6D7D3}" dt="2022-03-18T23:07:40.471" v="2453" actId="478"/>
          <ac:graphicFrameMkLst>
            <pc:docMk/>
            <pc:sldMk cId="2808589080" sldId="2147469732"/>
            <ac:graphicFrameMk id="2" creationId="{5B570CBB-573F-4885-8B86-D4F69AB46B74}"/>
          </ac:graphicFrameMkLst>
        </pc:graphicFrameChg>
        <pc:graphicFrameChg chg="add mod">
          <ac:chgData name="Kennie Pontoppidan" userId="0b66d239-c77c-454e-82ce-695a270d63fb" providerId="ADAL" clId="{11B5283E-F69C-413F-81B1-F3B8D4F6D7D3}" dt="2022-03-18T23:07:51.100" v="2456" actId="14100"/>
          <ac:graphicFrameMkLst>
            <pc:docMk/>
            <pc:sldMk cId="2808589080" sldId="2147469732"/>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0:18.287" v="2586" actId="20577"/>
        <pc:sldMkLst>
          <pc:docMk/>
          <pc:sldMk cId="4152121427" sldId="2147469733"/>
        </pc:sldMkLst>
        <pc:spChg chg="mod">
          <ac:chgData name="Kennie Pontoppidan" userId="0b66d239-c77c-454e-82ce-695a270d63fb" providerId="ADAL" clId="{11B5283E-F69C-413F-81B1-F3B8D4F6D7D3}" dt="2022-03-18T23:09:59.807" v="2549" actId="20577"/>
          <ac:spMkLst>
            <pc:docMk/>
            <pc:sldMk cId="4152121427" sldId="2147469733"/>
            <ac:spMk id="4" creationId="{7E568EDC-3C04-458F-A1B2-BF32BBB672B1}"/>
          </ac:spMkLst>
        </pc:spChg>
        <pc:spChg chg="mod">
          <ac:chgData name="Kennie Pontoppidan" userId="0b66d239-c77c-454e-82ce-695a270d63fb" providerId="ADAL" clId="{11B5283E-F69C-413F-81B1-F3B8D4F6D7D3}" dt="2022-03-18T23:10:18.287" v="2586" actId="20577"/>
          <ac:spMkLst>
            <pc:docMk/>
            <pc:sldMk cId="4152121427" sldId="2147469733"/>
            <ac:spMk id="6" creationId="{EFE9E6E6-F742-483A-8C90-1223916213CA}"/>
          </ac:spMkLst>
        </pc:spChg>
        <pc:graphicFrameChg chg="add mod">
          <ac:chgData name="Kennie Pontoppidan" userId="0b66d239-c77c-454e-82ce-695a270d63fb" providerId="ADAL" clId="{11B5283E-F69C-413F-81B1-F3B8D4F6D7D3}" dt="2022-03-18T23:09:52.676" v="2542" actId="14100"/>
          <ac:graphicFrameMkLst>
            <pc:docMk/>
            <pc:sldMk cId="4152121427" sldId="2147469733"/>
            <ac:graphicFrameMk id="2" creationId="{D11749C0-D1E4-4C8F-A35D-FD997A411A1B}"/>
          </ac:graphicFrameMkLst>
        </pc:graphicFrameChg>
        <pc:graphicFrameChg chg="del">
          <ac:chgData name="Kennie Pontoppidan" userId="0b66d239-c77c-454e-82ce-695a270d63fb" providerId="ADAL" clId="{11B5283E-F69C-413F-81B1-F3B8D4F6D7D3}" dt="2022-03-18T23:09:46.161" v="2540" actId="478"/>
          <ac:graphicFrameMkLst>
            <pc:docMk/>
            <pc:sldMk cId="4152121427" sldId="2147469733"/>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7:41.334" v="2721" actId="6549"/>
        <pc:sldMkLst>
          <pc:docMk/>
          <pc:sldMk cId="632296818" sldId="2147469734"/>
        </pc:sldMkLst>
        <pc:spChg chg="mod">
          <ac:chgData name="Kennie Pontoppidan" userId="0b66d239-c77c-454e-82ce-695a270d63fb" providerId="ADAL" clId="{11B5283E-F69C-413F-81B1-F3B8D4F6D7D3}" dt="2022-03-18T23:17:41.334" v="2721" actId="6549"/>
          <ac:spMkLst>
            <pc:docMk/>
            <pc:sldMk cId="632296818" sldId="2147469734"/>
            <ac:spMk id="4" creationId="{7E568EDC-3C04-458F-A1B2-BF32BBB672B1}"/>
          </ac:spMkLst>
        </pc:spChg>
        <pc:spChg chg="mod">
          <ac:chgData name="Kennie Pontoppidan" userId="0b66d239-c77c-454e-82ce-695a270d63fb" providerId="ADAL" clId="{11B5283E-F69C-413F-81B1-F3B8D4F6D7D3}" dt="2022-03-18T23:12:17.166" v="2654" actId="20577"/>
          <ac:spMkLst>
            <pc:docMk/>
            <pc:sldMk cId="632296818" sldId="2147469734"/>
            <ac:spMk id="6" creationId="{EFE9E6E6-F742-483A-8C90-1223916213CA}"/>
          </ac:spMkLst>
        </pc:spChg>
        <pc:graphicFrameChg chg="del">
          <ac:chgData name="Kennie Pontoppidan" userId="0b66d239-c77c-454e-82ce-695a270d63fb" providerId="ADAL" clId="{11B5283E-F69C-413F-81B1-F3B8D4F6D7D3}" dt="2022-03-18T23:11:23.796" v="2600" actId="478"/>
          <ac:graphicFrameMkLst>
            <pc:docMk/>
            <pc:sldMk cId="632296818" sldId="2147469734"/>
            <ac:graphicFrameMk id="2" creationId="{D11749C0-D1E4-4C8F-A35D-FD997A411A1B}"/>
          </ac:graphicFrameMkLst>
        </pc:graphicFrameChg>
        <pc:graphicFrameChg chg="add mod">
          <ac:chgData name="Kennie Pontoppidan" userId="0b66d239-c77c-454e-82ce-695a270d63fb" providerId="ADAL" clId="{11B5283E-F69C-413F-81B1-F3B8D4F6D7D3}" dt="2022-03-18T23:11:30.445" v="2603" actId="14100"/>
          <ac:graphicFrameMkLst>
            <pc:docMk/>
            <pc:sldMk cId="632296818" sldId="2147469734"/>
            <ac:graphicFrameMk id="5" creationId="{84553168-94F4-446D-9656-518F08BFF5BF}"/>
          </ac:graphicFrameMkLst>
        </pc:graphicFrameChg>
      </pc:sldChg>
      <pc:sldChg chg="addSp delSp modSp new mod modClrScheme chgLayout">
        <pc:chgData name="Kennie Pontoppidan" userId="0b66d239-c77c-454e-82ce-695a270d63fb" providerId="ADAL" clId="{11B5283E-F69C-413F-81B1-F3B8D4F6D7D3}" dt="2022-03-18T23:17:19.537" v="2719" actId="20577"/>
        <pc:sldMkLst>
          <pc:docMk/>
          <pc:sldMk cId="2720165897" sldId="2147469735"/>
        </pc:sldMkLst>
        <pc:spChg chg="mod ord">
          <ac:chgData name="Kennie Pontoppidan" userId="0b66d239-c77c-454e-82ce-695a270d63fb" providerId="ADAL" clId="{11B5283E-F69C-413F-81B1-F3B8D4F6D7D3}" dt="2022-03-18T23:17:19.537" v="2719" actId="20577"/>
          <ac:spMkLst>
            <pc:docMk/>
            <pc:sldMk cId="2720165897" sldId="2147469735"/>
            <ac:spMk id="2" creationId="{FECDDADD-8899-43A0-B13F-3E23B6ABA390}"/>
          </ac:spMkLst>
        </pc:spChg>
        <pc:spChg chg="del">
          <ac:chgData name="Kennie Pontoppidan" userId="0b66d239-c77c-454e-82ce-695a270d63fb" providerId="ADAL" clId="{11B5283E-F69C-413F-81B1-F3B8D4F6D7D3}" dt="2022-03-18T23:16:09.701" v="2683" actId="700"/>
          <ac:spMkLst>
            <pc:docMk/>
            <pc:sldMk cId="2720165897" sldId="2147469735"/>
            <ac:spMk id="3" creationId="{70CAF2D8-20F5-4984-AF4E-18EE99CF9981}"/>
          </ac:spMkLst>
        </pc:spChg>
        <pc:spChg chg="del">
          <ac:chgData name="Kennie Pontoppidan" userId="0b66d239-c77c-454e-82ce-695a270d63fb" providerId="ADAL" clId="{11B5283E-F69C-413F-81B1-F3B8D4F6D7D3}" dt="2022-03-18T23:16:09.701" v="2683" actId="700"/>
          <ac:spMkLst>
            <pc:docMk/>
            <pc:sldMk cId="2720165897" sldId="2147469735"/>
            <ac:spMk id="4" creationId="{20F06D14-C095-4E52-A96D-F9CB4F789810}"/>
          </ac:spMkLst>
        </pc:spChg>
        <pc:spChg chg="add mod">
          <ac:chgData name="Kennie Pontoppidan" userId="0b66d239-c77c-454e-82ce-695a270d63fb" providerId="ADAL" clId="{11B5283E-F69C-413F-81B1-F3B8D4F6D7D3}" dt="2022-03-18T23:16:56.201" v="2696" actId="14100"/>
          <ac:spMkLst>
            <pc:docMk/>
            <pc:sldMk cId="2720165897" sldId="2147469735"/>
            <ac:spMk id="7" creationId="{180E4A25-7797-4457-A2E1-11431E508B0F}"/>
          </ac:spMkLst>
        </pc:spChg>
        <pc:spChg chg="add mod">
          <ac:chgData name="Kennie Pontoppidan" userId="0b66d239-c77c-454e-82ce-695a270d63fb" providerId="ADAL" clId="{11B5283E-F69C-413F-81B1-F3B8D4F6D7D3}" dt="2022-03-18T23:17:08.421" v="2701" actId="14100"/>
          <ac:spMkLst>
            <pc:docMk/>
            <pc:sldMk cId="2720165897" sldId="2147469735"/>
            <ac:spMk id="9" creationId="{CE457CD9-ABE5-4DE0-AE4E-AA169126908B}"/>
          </ac:spMkLst>
        </pc:spChg>
        <pc:graphicFrameChg chg="add mod">
          <ac:chgData name="Kennie Pontoppidan" userId="0b66d239-c77c-454e-82ce-695a270d63fb" providerId="ADAL" clId="{11B5283E-F69C-413F-81B1-F3B8D4F6D7D3}" dt="2022-03-18T23:16:47.261" v="2693" actId="1076"/>
          <ac:graphicFrameMkLst>
            <pc:docMk/>
            <pc:sldMk cId="2720165897" sldId="2147469735"/>
            <ac:graphicFrameMk id="5" creationId="{19B4D18E-939B-4A0C-8A12-7DD6C81758C2}"/>
          </ac:graphicFrameMkLst>
        </pc:graphicFrameChg>
      </pc:sldChg>
      <pc:sldChg chg="addSp delSp modSp new mod modClrScheme chgLayout">
        <pc:chgData name="Kennie Pontoppidan" userId="0b66d239-c77c-454e-82ce-695a270d63fb" providerId="ADAL" clId="{11B5283E-F69C-413F-81B1-F3B8D4F6D7D3}" dt="2022-03-18T23:19:54.970" v="2940" actId="5793"/>
        <pc:sldMkLst>
          <pc:docMk/>
          <pc:sldMk cId="1871581359" sldId="2147469736"/>
        </pc:sldMkLst>
        <pc:spChg chg="del mod ord">
          <ac:chgData name="Kennie Pontoppidan" userId="0b66d239-c77c-454e-82ce-695a270d63fb" providerId="ADAL" clId="{11B5283E-F69C-413F-81B1-F3B8D4F6D7D3}" dt="2022-03-18T23:18:01.867" v="2724" actId="700"/>
          <ac:spMkLst>
            <pc:docMk/>
            <pc:sldMk cId="1871581359" sldId="2147469736"/>
            <ac:spMk id="2" creationId="{7CB9F3EE-CC63-469D-AD39-5A9652E5ACA7}"/>
          </ac:spMkLst>
        </pc:spChg>
        <pc:spChg chg="del mod ord">
          <ac:chgData name="Kennie Pontoppidan" userId="0b66d239-c77c-454e-82ce-695a270d63fb" providerId="ADAL" clId="{11B5283E-F69C-413F-81B1-F3B8D4F6D7D3}" dt="2022-03-18T23:18:01.867" v="2724" actId="700"/>
          <ac:spMkLst>
            <pc:docMk/>
            <pc:sldMk cId="1871581359" sldId="2147469736"/>
            <ac:spMk id="3" creationId="{A83D8A90-A53A-49FC-8B61-A014BF2A3260}"/>
          </ac:spMkLst>
        </pc:spChg>
        <pc:spChg chg="del">
          <ac:chgData name="Kennie Pontoppidan" userId="0b66d239-c77c-454e-82ce-695a270d63fb" providerId="ADAL" clId="{11B5283E-F69C-413F-81B1-F3B8D4F6D7D3}" dt="2022-03-18T23:18:01.867" v="2724" actId="700"/>
          <ac:spMkLst>
            <pc:docMk/>
            <pc:sldMk cId="1871581359" sldId="2147469736"/>
            <ac:spMk id="4" creationId="{12BF1067-0D30-4869-838E-590B0B890C4C}"/>
          </ac:spMkLst>
        </pc:spChg>
        <pc:spChg chg="add mod ord">
          <ac:chgData name="Kennie Pontoppidan" userId="0b66d239-c77c-454e-82ce-695a270d63fb" providerId="ADAL" clId="{11B5283E-F69C-413F-81B1-F3B8D4F6D7D3}" dt="2022-03-18T23:19:09.443" v="2862" actId="20577"/>
          <ac:spMkLst>
            <pc:docMk/>
            <pc:sldMk cId="1871581359" sldId="2147469736"/>
            <ac:spMk id="5" creationId="{73415AF0-1837-4D95-9039-1772ECC124CF}"/>
          </ac:spMkLst>
        </pc:spChg>
        <pc:spChg chg="add mod ord">
          <ac:chgData name="Kennie Pontoppidan" userId="0b66d239-c77c-454e-82ce-695a270d63fb" providerId="ADAL" clId="{11B5283E-F69C-413F-81B1-F3B8D4F6D7D3}" dt="2022-03-18T23:19:54.970" v="2940" actId="5793"/>
          <ac:spMkLst>
            <pc:docMk/>
            <pc:sldMk cId="1871581359" sldId="2147469736"/>
            <ac:spMk id="6" creationId="{FC530ACA-CDD1-445E-9AE7-F0E06E06342B}"/>
          </ac:spMkLst>
        </pc:spChg>
      </pc:sldChg>
      <pc:sldChg chg="modSp add mod">
        <pc:chgData name="Kennie Pontoppidan" userId="0b66d239-c77c-454e-82ce-695a270d63fb" providerId="ADAL" clId="{11B5283E-F69C-413F-81B1-F3B8D4F6D7D3}" dt="2022-03-18T23:21:59.956" v="3061" actId="20577"/>
        <pc:sldMkLst>
          <pc:docMk/>
          <pc:sldMk cId="2941012232" sldId="2147469737"/>
        </pc:sldMkLst>
        <pc:spChg chg="mod">
          <ac:chgData name="Kennie Pontoppidan" userId="0b66d239-c77c-454e-82ce-695a270d63fb" providerId="ADAL" clId="{11B5283E-F69C-413F-81B1-F3B8D4F6D7D3}" dt="2022-03-18T23:20:55.586" v="2975" actId="20577"/>
          <ac:spMkLst>
            <pc:docMk/>
            <pc:sldMk cId="2941012232" sldId="2147469737"/>
            <ac:spMk id="5" creationId="{73415AF0-1837-4D95-9039-1772ECC124CF}"/>
          </ac:spMkLst>
        </pc:spChg>
        <pc:spChg chg="mod">
          <ac:chgData name="Kennie Pontoppidan" userId="0b66d239-c77c-454e-82ce-695a270d63fb" providerId="ADAL" clId="{11B5283E-F69C-413F-81B1-F3B8D4F6D7D3}" dt="2022-03-18T23:21:59.956" v="3061" actId="20577"/>
          <ac:spMkLst>
            <pc:docMk/>
            <pc:sldMk cId="2941012232" sldId="2147469737"/>
            <ac:spMk id="6" creationId="{FC530ACA-CDD1-445E-9AE7-F0E06E06342B}"/>
          </ac:spMkLst>
        </pc:spChg>
      </pc:sldChg>
      <pc:sldChg chg="addSp delSp modSp add mod">
        <pc:chgData name="Kennie Pontoppidan" userId="0b66d239-c77c-454e-82ce-695a270d63fb" providerId="ADAL" clId="{11B5283E-F69C-413F-81B1-F3B8D4F6D7D3}" dt="2022-03-18T23:24:13.726" v="3094" actId="14100"/>
        <pc:sldMkLst>
          <pc:docMk/>
          <pc:sldMk cId="1000848206" sldId="2147469738"/>
        </pc:sldMkLst>
        <pc:spChg chg="del">
          <ac:chgData name="Kennie Pontoppidan" userId="0b66d239-c77c-454e-82ce-695a270d63fb" providerId="ADAL" clId="{11B5283E-F69C-413F-81B1-F3B8D4F6D7D3}" dt="2022-03-18T23:23:27.537" v="3083" actId="478"/>
          <ac:spMkLst>
            <pc:docMk/>
            <pc:sldMk cId="1000848206" sldId="2147469738"/>
            <ac:spMk id="3" creationId="{4FD9909A-FBE9-4751-B5E7-3B5D557BBAD4}"/>
          </ac:spMkLst>
        </pc:spChg>
        <pc:spChg chg="mod">
          <ac:chgData name="Kennie Pontoppidan" userId="0b66d239-c77c-454e-82ce-695a270d63fb" providerId="ADAL" clId="{11B5283E-F69C-413F-81B1-F3B8D4F6D7D3}" dt="2022-03-18T23:22:30.326" v="3081" actId="20577"/>
          <ac:spMkLst>
            <pc:docMk/>
            <pc:sldMk cId="1000848206" sldId="2147469738"/>
            <ac:spMk id="4" creationId="{7E568EDC-3C04-458F-A1B2-BF32BBB672B1}"/>
          </ac:spMkLst>
        </pc:spChg>
        <pc:spChg chg="del">
          <ac:chgData name="Kennie Pontoppidan" userId="0b66d239-c77c-454e-82ce-695a270d63fb" providerId="ADAL" clId="{11B5283E-F69C-413F-81B1-F3B8D4F6D7D3}" dt="2022-03-18T23:23:30.025" v="3084" actId="478"/>
          <ac:spMkLst>
            <pc:docMk/>
            <pc:sldMk cId="1000848206" sldId="2147469738"/>
            <ac:spMk id="6" creationId="{EFE9E6E6-F742-483A-8C90-1223916213CA}"/>
          </ac:spMkLst>
        </pc:spChg>
        <pc:spChg chg="add del mod">
          <ac:chgData name="Kennie Pontoppidan" userId="0b66d239-c77c-454e-82ce-695a270d63fb" providerId="ADAL" clId="{11B5283E-F69C-413F-81B1-F3B8D4F6D7D3}" dt="2022-03-18T23:23:31.376" v="3085" actId="478"/>
          <ac:spMkLst>
            <pc:docMk/>
            <pc:sldMk cId="1000848206" sldId="2147469738"/>
            <ac:spMk id="7" creationId="{81193CEE-C85A-4928-9CD8-F81FC951A7E5}"/>
          </ac:spMkLst>
        </pc:spChg>
        <pc:spChg chg="add del">
          <ac:chgData name="Kennie Pontoppidan" userId="0b66d239-c77c-454e-82ce-695a270d63fb" providerId="ADAL" clId="{11B5283E-F69C-413F-81B1-F3B8D4F6D7D3}" dt="2022-03-18T23:23:55.829" v="3090" actId="478"/>
          <ac:spMkLst>
            <pc:docMk/>
            <pc:sldMk cId="1000848206" sldId="2147469738"/>
            <ac:spMk id="9" creationId="{6ECF83CB-1186-4FC9-8358-B093FFE8080B}"/>
          </ac:spMkLst>
        </pc:spChg>
        <pc:spChg chg="add mod">
          <ac:chgData name="Kennie Pontoppidan" userId="0b66d239-c77c-454e-82ce-695a270d63fb" providerId="ADAL" clId="{11B5283E-F69C-413F-81B1-F3B8D4F6D7D3}" dt="2022-03-18T23:24:13.726" v="3094" actId="14100"/>
          <ac:spMkLst>
            <pc:docMk/>
            <pc:sldMk cId="1000848206" sldId="2147469738"/>
            <ac:spMk id="11" creationId="{5C8ADA47-57CD-4AB0-A2CF-332C6A41F920}"/>
          </ac:spMkLst>
        </pc:spChg>
        <pc:graphicFrameChg chg="del">
          <ac:chgData name="Kennie Pontoppidan" userId="0b66d239-c77c-454e-82ce-695a270d63fb" providerId="ADAL" clId="{11B5283E-F69C-413F-81B1-F3B8D4F6D7D3}" dt="2022-03-18T23:22:34.406" v="3082" actId="478"/>
          <ac:graphicFrameMkLst>
            <pc:docMk/>
            <pc:sldMk cId="1000848206" sldId="2147469738"/>
            <ac:graphicFrameMk id="5" creationId="{84553168-94F4-446D-9656-518F08BFF5BF}"/>
          </ac:graphicFrameMkLst>
        </pc:graphicFrameChg>
        <pc:graphicFrameChg chg="add mod">
          <ac:chgData name="Kennie Pontoppidan" userId="0b66d239-c77c-454e-82ce-695a270d63fb" providerId="ADAL" clId="{11B5283E-F69C-413F-81B1-F3B8D4F6D7D3}" dt="2022-03-18T23:23:38.348" v="3088" actId="1076"/>
          <ac:graphicFrameMkLst>
            <pc:docMk/>
            <pc:sldMk cId="1000848206" sldId="2147469738"/>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27:01.655" v="3117" actId="20577"/>
        <pc:sldMkLst>
          <pc:docMk/>
          <pc:sldMk cId="2435996174" sldId="2147469739"/>
        </pc:sldMkLst>
        <pc:spChg chg="mod">
          <ac:chgData name="Kennie Pontoppidan" userId="0b66d239-c77c-454e-82ce-695a270d63fb" providerId="ADAL" clId="{11B5283E-F69C-413F-81B1-F3B8D4F6D7D3}" dt="2022-03-18T23:27:01.655" v="3117" actId="20577"/>
          <ac:spMkLst>
            <pc:docMk/>
            <pc:sldMk cId="2435996174" sldId="2147469739"/>
            <ac:spMk id="4" creationId="{7E568EDC-3C04-458F-A1B2-BF32BBB672B1}"/>
          </ac:spMkLst>
        </pc:spChg>
        <pc:spChg chg="mod">
          <ac:chgData name="Kennie Pontoppidan" userId="0b66d239-c77c-454e-82ce-695a270d63fb" providerId="ADAL" clId="{11B5283E-F69C-413F-81B1-F3B8D4F6D7D3}" dt="2022-03-18T23:26:50.790" v="3108" actId="14100"/>
          <ac:spMkLst>
            <pc:docMk/>
            <pc:sldMk cId="2435996174" sldId="2147469739"/>
            <ac:spMk id="11" creationId="{5C8ADA47-57CD-4AB0-A2CF-332C6A41F920}"/>
          </ac:spMkLst>
        </pc:spChg>
        <pc:graphicFrameChg chg="add mod ord">
          <ac:chgData name="Kennie Pontoppidan" userId="0b66d239-c77c-454e-82ce-695a270d63fb" providerId="ADAL" clId="{11B5283E-F69C-413F-81B1-F3B8D4F6D7D3}" dt="2022-03-18T23:26:43.585" v="3106" actId="167"/>
          <ac:graphicFrameMkLst>
            <pc:docMk/>
            <pc:sldMk cId="2435996174" sldId="2147469739"/>
            <ac:graphicFrameMk id="2" creationId="{1A9CF678-40E9-4CB3-9CD4-C447719D99DA}"/>
          </ac:graphicFrameMkLst>
        </pc:graphicFrameChg>
        <pc:graphicFrameChg chg="del">
          <ac:chgData name="Kennie Pontoppidan" userId="0b66d239-c77c-454e-82ce-695a270d63fb" providerId="ADAL" clId="{11B5283E-F69C-413F-81B1-F3B8D4F6D7D3}" dt="2022-03-18T23:26:18.680" v="3096" actId="478"/>
          <ac:graphicFrameMkLst>
            <pc:docMk/>
            <pc:sldMk cId="2435996174" sldId="2147469739"/>
            <ac:graphicFrameMk id="8" creationId="{4AFBED84-9ACC-48F2-AD0E-1A9E556C444E}"/>
          </ac:graphicFrameMkLst>
        </pc:graphicFrameChg>
      </pc:sldChg>
      <pc:sldChg chg="addSp delSp modSp add mod modNotesTx">
        <pc:chgData name="Kennie Pontoppidan" userId="0b66d239-c77c-454e-82ce-695a270d63fb" providerId="ADAL" clId="{11B5283E-F69C-413F-81B1-F3B8D4F6D7D3}" dt="2022-03-18T23:30:51.569" v="3209" actId="20577"/>
        <pc:sldMkLst>
          <pc:docMk/>
          <pc:sldMk cId="1974855447" sldId="2147469740"/>
        </pc:sldMkLst>
        <pc:spChg chg="add mod">
          <ac:chgData name="Kennie Pontoppidan" userId="0b66d239-c77c-454e-82ce-695a270d63fb" providerId="ADAL" clId="{11B5283E-F69C-413F-81B1-F3B8D4F6D7D3}" dt="2022-03-18T23:30:39.574" v="3176" actId="14100"/>
          <ac:spMkLst>
            <pc:docMk/>
            <pc:sldMk cId="1974855447" sldId="2147469740"/>
            <ac:spMk id="3" creationId="{42520E85-5844-4447-AA30-2D7163C94B4D}"/>
          </ac:spMkLst>
        </pc:spChg>
        <pc:spChg chg="mod">
          <ac:chgData name="Kennie Pontoppidan" userId="0b66d239-c77c-454e-82ce-695a270d63fb" providerId="ADAL" clId="{11B5283E-F69C-413F-81B1-F3B8D4F6D7D3}" dt="2022-03-18T23:29:52.234" v="3166" actId="20577"/>
          <ac:spMkLst>
            <pc:docMk/>
            <pc:sldMk cId="1974855447" sldId="2147469740"/>
            <ac:spMk id="4" creationId="{7E568EDC-3C04-458F-A1B2-BF32BBB672B1}"/>
          </ac:spMkLst>
        </pc:spChg>
        <pc:spChg chg="mod">
          <ac:chgData name="Kennie Pontoppidan" userId="0b66d239-c77c-454e-82ce-695a270d63fb" providerId="ADAL" clId="{11B5283E-F69C-413F-81B1-F3B8D4F6D7D3}" dt="2022-03-18T23:30:20.304" v="3173" actId="14100"/>
          <ac:spMkLst>
            <pc:docMk/>
            <pc:sldMk cId="1974855447" sldId="2147469740"/>
            <ac:spMk id="11" creationId="{5C8ADA47-57CD-4AB0-A2CF-332C6A41F920}"/>
          </ac:spMkLst>
        </pc:spChg>
        <pc:graphicFrameChg chg="add mod ord">
          <ac:chgData name="Kennie Pontoppidan" userId="0b66d239-c77c-454e-82ce-695a270d63fb" providerId="ADAL" clId="{11B5283E-F69C-413F-81B1-F3B8D4F6D7D3}" dt="2022-03-18T23:30:10.374" v="3171" actId="167"/>
          <ac:graphicFrameMkLst>
            <pc:docMk/>
            <pc:sldMk cId="1974855447" sldId="2147469740"/>
            <ac:graphicFrameMk id="2" creationId="{6F935B57-98B8-42A6-AF68-F32BAE4A9B0E}"/>
          </ac:graphicFrameMkLst>
        </pc:graphicFrameChg>
        <pc:graphicFrameChg chg="del">
          <ac:chgData name="Kennie Pontoppidan" userId="0b66d239-c77c-454e-82ce-695a270d63fb" providerId="ADAL" clId="{11B5283E-F69C-413F-81B1-F3B8D4F6D7D3}" dt="2022-03-18T23:27:32.825" v="3142" actId="478"/>
          <ac:graphicFrameMkLst>
            <pc:docMk/>
            <pc:sldMk cId="1974855447" sldId="2147469740"/>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35:31.221" v="3243" actId="14100"/>
        <pc:sldMkLst>
          <pc:docMk/>
          <pc:sldMk cId="1710830156" sldId="2147469741"/>
        </pc:sldMkLst>
        <pc:spChg chg="mod">
          <ac:chgData name="Kennie Pontoppidan" userId="0b66d239-c77c-454e-82ce-695a270d63fb" providerId="ADAL" clId="{11B5283E-F69C-413F-81B1-F3B8D4F6D7D3}" dt="2022-03-18T23:34:59.397" v="3233" actId="20577"/>
          <ac:spMkLst>
            <pc:docMk/>
            <pc:sldMk cId="1710830156" sldId="2147469741"/>
            <ac:spMk id="4" creationId="{7E568EDC-3C04-458F-A1B2-BF32BBB672B1}"/>
          </ac:spMkLst>
        </pc:spChg>
        <pc:spChg chg="mod">
          <ac:chgData name="Kennie Pontoppidan" userId="0b66d239-c77c-454e-82ce-695a270d63fb" providerId="ADAL" clId="{11B5283E-F69C-413F-81B1-F3B8D4F6D7D3}" dt="2022-03-18T23:35:31.221" v="3243" actId="14100"/>
          <ac:spMkLst>
            <pc:docMk/>
            <pc:sldMk cId="1710830156" sldId="2147469741"/>
            <ac:spMk id="11" creationId="{5C8ADA47-57CD-4AB0-A2CF-332C6A41F920}"/>
          </ac:spMkLst>
        </pc:spChg>
        <pc:graphicFrameChg chg="del">
          <ac:chgData name="Kennie Pontoppidan" userId="0b66d239-c77c-454e-82ce-695a270d63fb" providerId="ADAL" clId="{11B5283E-F69C-413F-81B1-F3B8D4F6D7D3}" dt="2022-03-18T23:31:19.284" v="3221" actId="478"/>
          <ac:graphicFrameMkLst>
            <pc:docMk/>
            <pc:sldMk cId="1710830156" sldId="2147469741"/>
            <ac:graphicFrameMk id="2" creationId="{1A9CF678-40E9-4CB3-9CD4-C447719D99DA}"/>
          </ac:graphicFrameMkLst>
        </pc:graphicFrameChg>
        <pc:graphicFrameChg chg="add mod ord">
          <ac:chgData name="Kennie Pontoppidan" userId="0b66d239-c77c-454e-82ce-695a270d63fb" providerId="ADAL" clId="{11B5283E-F69C-413F-81B1-F3B8D4F6D7D3}" dt="2022-03-18T23:35:24.442" v="3241" actId="1076"/>
          <ac:graphicFrameMkLst>
            <pc:docMk/>
            <pc:sldMk cId="1710830156" sldId="2147469741"/>
            <ac:graphicFrameMk id="3" creationId="{CE4B9B1D-6200-46F1-BEA0-29A879D544A6}"/>
          </ac:graphicFrameMkLst>
        </pc:graphicFrameChg>
      </pc:sldChg>
      <pc:sldChg chg="addSp delSp modSp add mod chgLayout modNotesTx">
        <pc:chgData name="Kennie Pontoppidan" userId="0b66d239-c77c-454e-82ce-695a270d63fb" providerId="ADAL" clId="{11B5283E-F69C-413F-81B1-F3B8D4F6D7D3}" dt="2022-03-18T23:41:59.431" v="3394" actId="20577"/>
        <pc:sldMkLst>
          <pc:docMk/>
          <pc:sldMk cId="3836009303" sldId="2147469742"/>
        </pc:sldMkLst>
        <pc:spChg chg="del mod">
          <ac:chgData name="Kennie Pontoppidan" userId="0b66d239-c77c-454e-82ce-695a270d63fb" providerId="ADAL" clId="{11B5283E-F69C-413F-81B1-F3B8D4F6D7D3}" dt="2022-03-18T23:40:44.334" v="3340" actId="478"/>
          <ac:spMkLst>
            <pc:docMk/>
            <pc:sldMk cId="3836009303" sldId="2147469742"/>
            <ac:spMk id="3" creationId="{42520E85-5844-4447-AA30-2D7163C94B4D}"/>
          </ac:spMkLst>
        </pc:spChg>
        <pc:spChg chg="mod ord">
          <ac:chgData name="Kennie Pontoppidan" userId="0b66d239-c77c-454e-82ce-695a270d63fb" providerId="ADAL" clId="{11B5283E-F69C-413F-81B1-F3B8D4F6D7D3}" dt="2022-03-18T23:41:16.549" v="3348" actId="700"/>
          <ac:spMkLst>
            <pc:docMk/>
            <pc:sldMk cId="3836009303" sldId="2147469742"/>
            <ac:spMk id="4" creationId="{7E568EDC-3C04-458F-A1B2-BF32BBB672B1}"/>
          </ac:spMkLst>
        </pc:spChg>
        <pc:spChg chg="add del mod ord">
          <ac:chgData name="Kennie Pontoppidan" userId="0b66d239-c77c-454e-82ce-695a270d63fb" providerId="ADAL" clId="{11B5283E-F69C-413F-81B1-F3B8D4F6D7D3}" dt="2022-03-18T23:41:22.223" v="3349" actId="478"/>
          <ac:spMkLst>
            <pc:docMk/>
            <pc:sldMk cId="3836009303" sldId="2147469742"/>
            <ac:spMk id="7" creationId="{08D25353-A496-45F5-8612-CBF2B7997F67}"/>
          </ac:spMkLst>
        </pc:spChg>
        <pc:spChg chg="add mod ord">
          <ac:chgData name="Kennie Pontoppidan" userId="0b66d239-c77c-454e-82ce-695a270d63fb" providerId="ADAL" clId="{11B5283E-F69C-413F-81B1-F3B8D4F6D7D3}" dt="2022-03-18T23:41:59.431" v="3394" actId="20577"/>
          <ac:spMkLst>
            <pc:docMk/>
            <pc:sldMk cId="3836009303" sldId="2147469742"/>
            <ac:spMk id="8" creationId="{3A6A8309-F7F9-4C32-87BB-EB3871054378}"/>
          </ac:spMkLst>
        </pc:spChg>
        <pc:spChg chg="mod">
          <ac:chgData name="Kennie Pontoppidan" userId="0b66d239-c77c-454e-82ce-695a270d63fb" providerId="ADAL" clId="{11B5283E-F69C-413F-81B1-F3B8D4F6D7D3}" dt="2022-03-18T23:41:31.687" v="3352" actId="1076"/>
          <ac:spMkLst>
            <pc:docMk/>
            <pc:sldMk cId="3836009303" sldId="2147469742"/>
            <ac:spMk id="11" creationId="{5C8ADA47-57CD-4AB0-A2CF-332C6A41F920}"/>
          </ac:spMkLst>
        </pc:spChg>
        <pc:graphicFrameChg chg="del">
          <ac:chgData name="Kennie Pontoppidan" userId="0b66d239-c77c-454e-82ce-695a270d63fb" providerId="ADAL" clId="{11B5283E-F69C-413F-81B1-F3B8D4F6D7D3}" dt="2022-03-18T23:37:42.816" v="3245" actId="478"/>
          <ac:graphicFrameMkLst>
            <pc:docMk/>
            <pc:sldMk cId="3836009303" sldId="2147469742"/>
            <ac:graphicFrameMk id="2" creationId="{6F935B57-98B8-42A6-AF68-F32BAE4A9B0E}"/>
          </ac:graphicFrameMkLst>
        </pc:graphicFrameChg>
        <pc:graphicFrameChg chg="add del mod ord">
          <ac:chgData name="Kennie Pontoppidan" userId="0b66d239-c77c-454e-82ce-695a270d63fb" providerId="ADAL" clId="{11B5283E-F69C-413F-81B1-F3B8D4F6D7D3}" dt="2022-03-18T23:40:36.289" v="3337" actId="478"/>
          <ac:graphicFrameMkLst>
            <pc:docMk/>
            <pc:sldMk cId="3836009303" sldId="2147469742"/>
            <ac:graphicFrameMk id="5" creationId="{9D62E6AF-35DC-402F-AFB2-FA66031838EC}"/>
          </ac:graphicFrameMkLst>
        </pc:graphicFrameChg>
        <pc:graphicFrameChg chg="add mod ord">
          <ac:chgData name="Kennie Pontoppidan" userId="0b66d239-c77c-454e-82ce-695a270d63fb" providerId="ADAL" clId="{11B5283E-F69C-413F-81B1-F3B8D4F6D7D3}" dt="2022-03-18T23:41:25.199" v="3350" actId="1076"/>
          <ac:graphicFrameMkLst>
            <pc:docMk/>
            <pc:sldMk cId="3836009303" sldId="2147469742"/>
            <ac:graphicFrameMk id="6" creationId="{5A47C16E-36A8-43F6-9CAE-9FB64589628F}"/>
          </ac:graphicFrameMkLst>
        </pc:graphicFrameChg>
      </pc:sldChg>
      <pc:sldChg chg="addSp delSp modSp add mod modNotesTx">
        <pc:chgData name="Kennie Pontoppidan" userId="0b66d239-c77c-454e-82ce-695a270d63fb" providerId="ADAL" clId="{11B5283E-F69C-413F-81B1-F3B8D4F6D7D3}" dt="2022-03-18T23:45:00.912" v="3470" actId="20577"/>
        <pc:sldMkLst>
          <pc:docMk/>
          <pc:sldMk cId="4179647969" sldId="2147469743"/>
        </pc:sldMkLst>
        <pc:spChg chg="add del mod">
          <ac:chgData name="Kennie Pontoppidan" userId="0b66d239-c77c-454e-82ce-695a270d63fb" providerId="ADAL" clId="{11B5283E-F69C-413F-81B1-F3B8D4F6D7D3}" dt="2022-03-18T23:42:26.268" v="3413" actId="478"/>
          <ac:spMkLst>
            <pc:docMk/>
            <pc:sldMk cId="4179647969" sldId="2147469743"/>
            <ac:spMk id="3" creationId="{CE8E36EA-1E6E-4CB1-9CD8-D4712596776E}"/>
          </ac:spMkLst>
        </pc:spChg>
        <pc:spChg chg="mod">
          <ac:chgData name="Kennie Pontoppidan" userId="0b66d239-c77c-454e-82ce-695a270d63fb" providerId="ADAL" clId="{11B5283E-F69C-413F-81B1-F3B8D4F6D7D3}" dt="2022-03-18T23:42:20.849" v="3411" actId="20577"/>
          <ac:spMkLst>
            <pc:docMk/>
            <pc:sldMk cId="4179647969" sldId="2147469743"/>
            <ac:spMk id="4" creationId="{7E568EDC-3C04-458F-A1B2-BF32BBB672B1}"/>
          </ac:spMkLst>
        </pc:spChg>
        <pc:spChg chg="del">
          <ac:chgData name="Kennie Pontoppidan" userId="0b66d239-c77c-454e-82ce-695a270d63fb" providerId="ADAL" clId="{11B5283E-F69C-413F-81B1-F3B8D4F6D7D3}" dt="2022-03-18T23:42:23.859" v="3412" actId="478"/>
          <ac:spMkLst>
            <pc:docMk/>
            <pc:sldMk cId="4179647969" sldId="2147469743"/>
            <ac:spMk id="8" creationId="{3A6A8309-F7F9-4C32-87BB-EB3871054378}"/>
          </ac:spMkLst>
        </pc:spChg>
        <pc:spChg chg="mod">
          <ac:chgData name="Kennie Pontoppidan" userId="0b66d239-c77c-454e-82ce-695a270d63fb" providerId="ADAL" clId="{11B5283E-F69C-413F-81B1-F3B8D4F6D7D3}" dt="2022-03-18T23:44:28.789" v="3425" actId="14100"/>
          <ac:spMkLst>
            <pc:docMk/>
            <pc:sldMk cId="4179647969" sldId="2147469743"/>
            <ac:spMk id="11" creationId="{5C8ADA47-57CD-4AB0-A2CF-332C6A41F920}"/>
          </ac:spMkLst>
        </pc:spChg>
        <pc:graphicFrameChg chg="del">
          <ac:chgData name="Kennie Pontoppidan" userId="0b66d239-c77c-454e-82ce-695a270d63fb" providerId="ADAL" clId="{11B5283E-F69C-413F-81B1-F3B8D4F6D7D3}" dt="2022-03-18T23:43:27.771" v="3414" actId="478"/>
          <ac:graphicFrameMkLst>
            <pc:docMk/>
            <pc:sldMk cId="4179647969" sldId="2147469743"/>
            <ac:graphicFrameMk id="6" creationId="{5A47C16E-36A8-43F6-9CAE-9FB64589628F}"/>
          </ac:graphicFrameMkLst>
        </pc:graphicFrameChg>
        <pc:graphicFrameChg chg="add mod ord">
          <ac:chgData name="Kennie Pontoppidan" userId="0b66d239-c77c-454e-82ce-695a270d63fb" providerId="ADAL" clId="{11B5283E-F69C-413F-81B1-F3B8D4F6D7D3}" dt="2022-03-18T23:44:19.178" v="3422" actId="167"/>
          <ac:graphicFrameMkLst>
            <pc:docMk/>
            <pc:sldMk cId="4179647969" sldId="2147469743"/>
            <ac:graphicFrameMk id="9" creationId="{38E51E35-9585-4165-B3AC-98FCCF9D84CB}"/>
          </ac:graphicFrameMkLst>
        </pc:graphicFrameChg>
        <pc:picChg chg="add del">
          <ac:chgData name="Kennie Pontoppidan" userId="0b66d239-c77c-454e-82ce-695a270d63fb" providerId="ADAL" clId="{11B5283E-F69C-413F-81B1-F3B8D4F6D7D3}" dt="2022-03-18T23:43:32.509" v="3417" actId="22"/>
          <ac:picMkLst>
            <pc:docMk/>
            <pc:sldMk cId="4179647969" sldId="2147469743"/>
            <ac:picMk id="7" creationId="{CFCEF312-33A9-498B-84E2-49D90DAE9A8B}"/>
          </ac:picMkLst>
        </pc:picChg>
      </pc:sldChg>
      <pc:sldChg chg="addSp delSp modSp add mod modNotesTx">
        <pc:chgData name="Kennie Pontoppidan" userId="0b66d239-c77c-454e-82ce-695a270d63fb" providerId="ADAL" clId="{11B5283E-F69C-413F-81B1-F3B8D4F6D7D3}" dt="2022-03-18T23:47:47.467" v="3510" actId="20577"/>
        <pc:sldMkLst>
          <pc:docMk/>
          <pc:sldMk cId="42553532" sldId="2147469744"/>
        </pc:sldMkLst>
        <pc:spChg chg="mod">
          <ac:chgData name="Kennie Pontoppidan" userId="0b66d239-c77c-454e-82ce-695a270d63fb" providerId="ADAL" clId="{11B5283E-F69C-413F-81B1-F3B8D4F6D7D3}" dt="2022-03-18T23:44:46.599" v="3443" actId="6549"/>
          <ac:spMkLst>
            <pc:docMk/>
            <pc:sldMk cId="42553532" sldId="2147469744"/>
            <ac:spMk id="4" creationId="{7E568EDC-3C04-458F-A1B2-BF32BBB672B1}"/>
          </ac:spMkLst>
        </pc:spChg>
        <pc:spChg chg="mod">
          <ac:chgData name="Kennie Pontoppidan" userId="0b66d239-c77c-454e-82ce-695a270d63fb" providerId="ADAL" clId="{11B5283E-F69C-413F-81B1-F3B8D4F6D7D3}" dt="2022-03-18T23:47:32.760" v="3476" actId="14100"/>
          <ac:spMkLst>
            <pc:docMk/>
            <pc:sldMk cId="42553532" sldId="2147469744"/>
            <ac:spMk id="11" creationId="{5C8ADA47-57CD-4AB0-A2CF-332C6A41F920}"/>
          </ac:spMkLst>
        </pc:spChg>
        <pc:graphicFrameChg chg="add mod ord">
          <ac:chgData name="Kennie Pontoppidan" userId="0b66d239-c77c-454e-82ce-695a270d63fb" providerId="ADAL" clId="{11B5283E-F69C-413F-81B1-F3B8D4F6D7D3}" dt="2022-03-18T23:47:26.186" v="3474" actId="167"/>
          <ac:graphicFrameMkLst>
            <pc:docMk/>
            <pc:sldMk cId="42553532" sldId="2147469744"/>
            <ac:graphicFrameMk id="2" creationId="{72F83E5A-634C-477F-BFC1-E3882AF1507B}"/>
          </ac:graphicFrameMkLst>
        </pc:graphicFrameChg>
        <pc:graphicFrameChg chg="del">
          <ac:chgData name="Kennie Pontoppidan" userId="0b66d239-c77c-454e-82ce-695a270d63fb" providerId="ADAL" clId="{11B5283E-F69C-413F-81B1-F3B8D4F6D7D3}" dt="2022-03-18T23:47:15.935" v="3471" actId="478"/>
          <ac:graphicFrameMkLst>
            <pc:docMk/>
            <pc:sldMk cId="42553532" sldId="2147469744"/>
            <ac:graphicFrameMk id="9" creationId="{38E51E35-9585-4165-B3AC-98FCCF9D84CB}"/>
          </ac:graphicFrameMkLst>
        </pc:graphicFrameChg>
      </pc:sldChg>
      <pc:sldChg chg="addSp delSp modSp new mod ord modClrScheme chgLayout">
        <pc:chgData name="Kennie Pontoppidan" userId="0b66d239-c77c-454e-82ce-695a270d63fb" providerId="ADAL" clId="{11B5283E-F69C-413F-81B1-F3B8D4F6D7D3}" dt="2022-03-18T23:48:55.343" v="3531"/>
        <pc:sldMkLst>
          <pc:docMk/>
          <pc:sldMk cId="4102276855" sldId="2147469745"/>
        </pc:sldMkLst>
        <pc:spChg chg="del mod ord">
          <ac:chgData name="Kennie Pontoppidan" userId="0b66d239-c77c-454e-82ce-695a270d63fb" providerId="ADAL" clId="{11B5283E-F69C-413F-81B1-F3B8D4F6D7D3}" dt="2022-03-18T23:48:27.976" v="3513" actId="700"/>
          <ac:spMkLst>
            <pc:docMk/>
            <pc:sldMk cId="4102276855" sldId="2147469745"/>
            <ac:spMk id="2" creationId="{7F8D0AE7-FC67-4C74-86CE-B9091F68BFAF}"/>
          </ac:spMkLst>
        </pc:spChg>
        <pc:spChg chg="del mod ord">
          <ac:chgData name="Kennie Pontoppidan" userId="0b66d239-c77c-454e-82ce-695a270d63fb" providerId="ADAL" clId="{11B5283E-F69C-413F-81B1-F3B8D4F6D7D3}" dt="2022-03-18T23:48:27.976" v="3513" actId="700"/>
          <ac:spMkLst>
            <pc:docMk/>
            <pc:sldMk cId="4102276855" sldId="2147469745"/>
            <ac:spMk id="3" creationId="{A264F87C-DA95-480D-84C5-5528C8D61C1B}"/>
          </ac:spMkLst>
        </pc:spChg>
        <pc:spChg chg="add mod ord">
          <ac:chgData name="Kennie Pontoppidan" userId="0b66d239-c77c-454e-82ce-695a270d63fb" providerId="ADAL" clId="{11B5283E-F69C-413F-81B1-F3B8D4F6D7D3}" dt="2022-03-18T23:48:32.861" v="3528" actId="20577"/>
          <ac:spMkLst>
            <pc:docMk/>
            <pc:sldMk cId="4102276855" sldId="2147469745"/>
            <ac:spMk id="4" creationId="{039D8B7A-F9A3-4E3E-8D4E-6ABFFEBB2EA6}"/>
          </ac:spMkLst>
        </pc:spChg>
        <pc:spChg chg="add mod ord">
          <ac:chgData name="Kennie Pontoppidan" userId="0b66d239-c77c-454e-82ce-695a270d63fb" providerId="ADAL" clId="{11B5283E-F69C-413F-81B1-F3B8D4F6D7D3}" dt="2022-03-18T23:48:27.976" v="3513" actId="700"/>
          <ac:spMkLst>
            <pc:docMk/>
            <pc:sldMk cId="4102276855" sldId="2147469745"/>
            <ac:spMk id="5" creationId="{12D80A92-6731-4827-9722-52DDC2C03E57}"/>
          </ac:spMkLst>
        </pc:spChg>
      </pc:sldChg>
      <pc:sldChg chg="modSp new mod">
        <pc:chgData name="Kennie Pontoppidan" userId="0b66d239-c77c-454e-82ce-695a270d63fb" providerId="ADAL" clId="{11B5283E-F69C-413F-81B1-F3B8D4F6D7D3}" dt="2022-03-18T23:52:13.274" v="3768" actId="20577"/>
        <pc:sldMkLst>
          <pc:docMk/>
          <pc:sldMk cId="2077578860" sldId="2147469746"/>
        </pc:sldMkLst>
        <pc:spChg chg="mod">
          <ac:chgData name="Kennie Pontoppidan" userId="0b66d239-c77c-454e-82ce-695a270d63fb" providerId="ADAL" clId="{11B5283E-F69C-413F-81B1-F3B8D4F6D7D3}" dt="2022-03-18T23:50:20.832" v="3556" actId="20577"/>
          <ac:spMkLst>
            <pc:docMk/>
            <pc:sldMk cId="2077578860" sldId="2147469746"/>
            <ac:spMk id="2" creationId="{8635FBE6-2F62-49DE-8E17-D874BF2CB403}"/>
          </ac:spMkLst>
        </pc:spChg>
        <pc:spChg chg="mod">
          <ac:chgData name="Kennie Pontoppidan" userId="0b66d239-c77c-454e-82ce-695a270d63fb" providerId="ADAL" clId="{11B5283E-F69C-413F-81B1-F3B8D4F6D7D3}" dt="2022-03-18T23:52:13.274" v="3768" actId="20577"/>
          <ac:spMkLst>
            <pc:docMk/>
            <pc:sldMk cId="2077578860" sldId="2147469746"/>
            <ac:spMk id="3" creationId="{5DBB0A31-E89F-4B08-A9FC-4DE7320877F6}"/>
          </ac:spMkLst>
        </pc:spChg>
      </pc:sldChg>
      <pc:sldChg chg="modSp new mod">
        <pc:chgData name="Kennie Pontoppidan" userId="0b66d239-c77c-454e-82ce-695a270d63fb" providerId="ADAL" clId="{11B5283E-F69C-413F-81B1-F3B8D4F6D7D3}" dt="2022-03-18T23:54:43.082" v="3880" actId="20577"/>
        <pc:sldMkLst>
          <pc:docMk/>
          <pc:sldMk cId="3444844634" sldId="2147469747"/>
        </pc:sldMkLst>
        <pc:spChg chg="mod">
          <ac:chgData name="Kennie Pontoppidan" userId="0b66d239-c77c-454e-82ce-695a270d63fb" providerId="ADAL" clId="{11B5283E-F69C-413F-81B1-F3B8D4F6D7D3}" dt="2022-03-18T23:53:46.360" v="3819" actId="20577"/>
          <ac:spMkLst>
            <pc:docMk/>
            <pc:sldMk cId="3444844634" sldId="2147469747"/>
            <ac:spMk id="2" creationId="{400FE117-8921-43BE-BE14-91CD80C09F70}"/>
          </ac:spMkLst>
        </pc:spChg>
        <pc:spChg chg="mod">
          <ac:chgData name="Kennie Pontoppidan" userId="0b66d239-c77c-454e-82ce-695a270d63fb" providerId="ADAL" clId="{11B5283E-F69C-413F-81B1-F3B8D4F6D7D3}" dt="2022-03-18T23:54:43.082" v="3880" actId="20577"/>
          <ac:spMkLst>
            <pc:docMk/>
            <pc:sldMk cId="3444844634" sldId="2147469747"/>
            <ac:spMk id="3" creationId="{612E6F74-48BA-4D23-9F9F-E0565D7935EB}"/>
          </ac:spMkLst>
        </pc:spChg>
      </pc:sldChg>
      <pc:sldChg chg="modSp new mod">
        <pc:chgData name="Kennie Pontoppidan" userId="0b66d239-c77c-454e-82ce-695a270d63fb" providerId="ADAL" clId="{11B5283E-F69C-413F-81B1-F3B8D4F6D7D3}" dt="2022-03-18T23:56:45.915" v="3950" actId="20577"/>
        <pc:sldMkLst>
          <pc:docMk/>
          <pc:sldMk cId="1684628681" sldId="2147469748"/>
        </pc:sldMkLst>
        <pc:spChg chg="mod">
          <ac:chgData name="Kennie Pontoppidan" userId="0b66d239-c77c-454e-82ce-695a270d63fb" providerId="ADAL" clId="{11B5283E-F69C-413F-81B1-F3B8D4F6D7D3}" dt="2022-03-18T23:56:45.915" v="3950" actId="20577"/>
          <ac:spMkLst>
            <pc:docMk/>
            <pc:sldMk cId="1684628681" sldId="2147469748"/>
            <ac:spMk id="2" creationId="{B3BA62ED-1484-41B6-B1AB-EEF89FE0A09E}"/>
          </ac:spMkLst>
        </pc:spChg>
        <pc:spChg chg="mod">
          <ac:chgData name="Kennie Pontoppidan" userId="0b66d239-c77c-454e-82ce-695a270d63fb" providerId="ADAL" clId="{11B5283E-F69C-413F-81B1-F3B8D4F6D7D3}" dt="2022-03-18T23:56:40.463" v="3934" actId="20577"/>
          <ac:spMkLst>
            <pc:docMk/>
            <pc:sldMk cId="1684628681" sldId="2147469748"/>
            <ac:spMk id="3" creationId="{FF325275-FCDF-448B-8A82-28EB91E6EC62}"/>
          </ac:spMkLst>
        </pc:spChg>
      </pc:sldChg>
      <pc:sldChg chg="modSp new mod">
        <pc:chgData name="Kennie Pontoppidan" userId="0b66d239-c77c-454e-82ce-695a270d63fb" providerId="ADAL" clId="{11B5283E-F69C-413F-81B1-F3B8D4F6D7D3}" dt="2022-03-18T23:59:45.950" v="4093" actId="20577"/>
        <pc:sldMkLst>
          <pc:docMk/>
          <pc:sldMk cId="379822463" sldId="2147469749"/>
        </pc:sldMkLst>
        <pc:spChg chg="mod">
          <ac:chgData name="Kennie Pontoppidan" userId="0b66d239-c77c-454e-82ce-695a270d63fb" providerId="ADAL" clId="{11B5283E-F69C-413F-81B1-F3B8D4F6D7D3}" dt="2022-03-18T23:57:27.202" v="3993" actId="20577"/>
          <ac:spMkLst>
            <pc:docMk/>
            <pc:sldMk cId="379822463" sldId="2147469749"/>
            <ac:spMk id="2" creationId="{5CE6DF39-6657-4BD6-993A-4BD2544001C6}"/>
          </ac:spMkLst>
        </pc:spChg>
        <pc:spChg chg="mod">
          <ac:chgData name="Kennie Pontoppidan" userId="0b66d239-c77c-454e-82ce-695a270d63fb" providerId="ADAL" clId="{11B5283E-F69C-413F-81B1-F3B8D4F6D7D3}" dt="2022-03-18T23:59:45.950" v="4093" actId="20577"/>
          <ac:spMkLst>
            <pc:docMk/>
            <pc:sldMk cId="379822463" sldId="2147469749"/>
            <ac:spMk id="3" creationId="{40009ED3-9330-4B47-B9B7-FE670A019186}"/>
          </ac:spMkLst>
        </pc:spChg>
      </pc:sldChg>
      <pc:sldChg chg="modSp add mod">
        <pc:chgData name="Kennie Pontoppidan" userId="0b66d239-c77c-454e-82ce-695a270d63fb" providerId="ADAL" clId="{11B5283E-F69C-413F-81B1-F3B8D4F6D7D3}" dt="2022-03-19T00:10:53.281" v="4642" actId="20577"/>
        <pc:sldMkLst>
          <pc:docMk/>
          <pc:sldMk cId="515969902" sldId="2147469750"/>
        </pc:sldMkLst>
        <pc:spChg chg="mod">
          <ac:chgData name="Kennie Pontoppidan" userId="0b66d239-c77c-454e-82ce-695a270d63fb" providerId="ADAL" clId="{11B5283E-F69C-413F-81B1-F3B8D4F6D7D3}" dt="2022-03-19T00:10:53.281" v="4642" actId="20577"/>
          <ac:spMkLst>
            <pc:docMk/>
            <pc:sldMk cId="515969902" sldId="2147469750"/>
            <ac:spMk id="5" creationId="{73415AF0-1837-4D95-9039-1772ECC124CF}"/>
          </ac:spMkLst>
        </pc:spChg>
        <pc:spChg chg="mod">
          <ac:chgData name="Kennie Pontoppidan" userId="0b66d239-c77c-454e-82ce-695a270d63fb" providerId="ADAL" clId="{11B5283E-F69C-413F-81B1-F3B8D4F6D7D3}" dt="2022-03-19T00:04:42.743" v="4520" actId="20577"/>
          <ac:spMkLst>
            <pc:docMk/>
            <pc:sldMk cId="515969902" sldId="2147469750"/>
            <ac:spMk id="6" creationId="{FC530ACA-CDD1-445E-9AE7-F0E06E06342B}"/>
          </ac:spMkLst>
        </pc:spChg>
      </pc:sldChg>
      <pc:sldChg chg="addSp delSp modSp new mod">
        <pc:chgData name="Kennie Pontoppidan" userId="0b66d239-c77c-454e-82ce-695a270d63fb" providerId="ADAL" clId="{11B5283E-F69C-413F-81B1-F3B8D4F6D7D3}" dt="2022-03-19T00:06:44.653" v="4559" actId="20577"/>
        <pc:sldMkLst>
          <pc:docMk/>
          <pc:sldMk cId="2411517726" sldId="2147469751"/>
        </pc:sldMkLst>
        <pc:spChg chg="mod">
          <ac:chgData name="Kennie Pontoppidan" userId="0b66d239-c77c-454e-82ce-695a270d63fb" providerId="ADAL" clId="{11B5283E-F69C-413F-81B1-F3B8D4F6D7D3}" dt="2022-03-19T00:06:44.653" v="4559" actId="20577"/>
          <ac:spMkLst>
            <pc:docMk/>
            <pc:sldMk cId="2411517726" sldId="2147469751"/>
            <ac:spMk id="2" creationId="{B3CB952F-C2D5-4CBF-A8FD-DBB1745E4A54}"/>
          </ac:spMkLst>
        </pc:spChg>
        <pc:spChg chg="del">
          <ac:chgData name="Kennie Pontoppidan" userId="0b66d239-c77c-454e-82ce-695a270d63fb" providerId="ADAL" clId="{11B5283E-F69C-413F-81B1-F3B8D4F6D7D3}" dt="2022-03-19T00:06:29.032" v="4522" actId="478"/>
          <ac:spMkLst>
            <pc:docMk/>
            <pc:sldMk cId="2411517726" sldId="2147469751"/>
            <ac:spMk id="3" creationId="{D2C29707-C922-460B-B652-A1AF6F42C7A3}"/>
          </ac:spMkLst>
        </pc:spChg>
        <pc:graphicFrameChg chg="add mod">
          <ac:chgData name="Kennie Pontoppidan" userId="0b66d239-c77c-454e-82ce-695a270d63fb" providerId="ADAL" clId="{11B5283E-F69C-413F-81B1-F3B8D4F6D7D3}" dt="2022-03-19T00:06:31.958" v="4524" actId="1076"/>
          <ac:graphicFrameMkLst>
            <pc:docMk/>
            <pc:sldMk cId="2411517726" sldId="2147469751"/>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7:33.907" v="4575" actId="1076"/>
        <pc:sldMkLst>
          <pc:docMk/>
          <pc:sldMk cId="3486909198" sldId="2147469752"/>
        </pc:sldMkLst>
        <pc:spChg chg="mod">
          <ac:chgData name="Kennie Pontoppidan" userId="0b66d239-c77c-454e-82ce-695a270d63fb" providerId="ADAL" clId="{11B5283E-F69C-413F-81B1-F3B8D4F6D7D3}" dt="2022-03-19T00:07:28.014" v="4573" actId="20577"/>
          <ac:spMkLst>
            <pc:docMk/>
            <pc:sldMk cId="3486909198" sldId="2147469752"/>
            <ac:spMk id="2" creationId="{B3CB952F-C2D5-4CBF-A8FD-DBB1745E4A54}"/>
          </ac:spMkLst>
        </pc:spChg>
        <pc:graphicFrameChg chg="add mod">
          <ac:chgData name="Kennie Pontoppidan" userId="0b66d239-c77c-454e-82ce-695a270d63fb" providerId="ADAL" clId="{11B5283E-F69C-413F-81B1-F3B8D4F6D7D3}" dt="2022-03-19T00:07:33.907" v="4575" actId="1076"/>
          <ac:graphicFrameMkLst>
            <pc:docMk/>
            <pc:sldMk cId="3486909198" sldId="2147469752"/>
            <ac:graphicFrameMk id="3" creationId="{F69BBEE2-65EC-4FC9-8285-6301B3AA9B43}"/>
          </ac:graphicFrameMkLst>
        </pc:graphicFrameChg>
        <pc:graphicFrameChg chg="del">
          <ac:chgData name="Kennie Pontoppidan" userId="0b66d239-c77c-454e-82ce-695a270d63fb" providerId="ADAL" clId="{11B5283E-F69C-413F-81B1-F3B8D4F6D7D3}" dt="2022-03-19T00:07:19.676" v="4561" actId="478"/>
          <ac:graphicFrameMkLst>
            <pc:docMk/>
            <pc:sldMk cId="3486909198" sldId="2147469752"/>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9:27.625" v="4609" actId="20577"/>
        <pc:sldMkLst>
          <pc:docMk/>
          <pc:sldMk cId="1450264289" sldId="2147469753"/>
        </pc:sldMkLst>
        <pc:spChg chg="mod">
          <ac:chgData name="Kennie Pontoppidan" userId="0b66d239-c77c-454e-82ce-695a270d63fb" providerId="ADAL" clId="{11B5283E-F69C-413F-81B1-F3B8D4F6D7D3}" dt="2022-03-19T00:09:27.625" v="4609" actId="20577"/>
          <ac:spMkLst>
            <pc:docMk/>
            <pc:sldMk cId="1450264289" sldId="2147469753"/>
            <ac:spMk id="2" creationId="{B3CB952F-C2D5-4CBF-A8FD-DBB1745E4A54}"/>
          </ac:spMkLst>
        </pc:spChg>
        <pc:graphicFrameChg chg="del">
          <ac:chgData name="Kennie Pontoppidan" userId="0b66d239-c77c-454e-82ce-695a270d63fb" providerId="ADAL" clId="{11B5283E-F69C-413F-81B1-F3B8D4F6D7D3}" dt="2022-03-19T00:08:09.090" v="4577" actId="478"/>
          <ac:graphicFrameMkLst>
            <pc:docMk/>
            <pc:sldMk cId="1450264289" sldId="2147469753"/>
            <ac:graphicFrameMk id="3" creationId="{F69BBEE2-65EC-4FC9-8285-6301B3AA9B43}"/>
          </ac:graphicFrameMkLst>
        </pc:graphicFrameChg>
        <pc:graphicFrameChg chg="add mod">
          <ac:chgData name="Kennie Pontoppidan" userId="0b66d239-c77c-454e-82ce-695a270d63fb" providerId="ADAL" clId="{11B5283E-F69C-413F-81B1-F3B8D4F6D7D3}" dt="2022-03-19T00:08:12.837" v="4579" actId="1076"/>
          <ac:graphicFrameMkLst>
            <pc:docMk/>
            <pc:sldMk cId="1450264289" sldId="2147469753"/>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09:21.395" v="4598" actId="1076"/>
        <pc:sldMkLst>
          <pc:docMk/>
          <pc:sldMk cId="1275269959" sldId="2147469754"/>
        </pc:sldMkLst>
        <pc:graphicFrameChg chg="add mod">
          <ac:chgData name="Kennie Pontoppidan" userId="0b66d239-c77c-454e-82ce-695a270d63fb" providerId="ADAL" clId="{11B5283E-F69C-413F-81B1-F3B8D4F6D7D3}" dt="2022-03-19T00:09:21.395" v="4598" actId="1076"/>
          <ac:graphicFrameMkLst>
            <pc:docMk/>
            <pc:sldMk cId="1275269959" sldId="2147469754"/>
            <ac:graphicFrameMk id="3" creationId="{370D2163-63A1-48B9-9BD5-BA981E6AE3C1}"/>
          </ac:graphicFrameMkLst>
        </pc:graphicFrameChg>
        <pc:graphicFrameChg chg="del">
          <ac:chgData name="Kennie Pontoppidan" userId="0b66d239-c77c-454e-82ce-695a270d63fb" providerId="ADAL" clId="{11B5283E-F69C-413F-81B1-F3B8D4F6D7D3}" dt="2022-03-19T00:09:16.795" v="4596" actId="478"/>
          <ac:graphicFrameMkLst>
            <pc:docMk/>
            <pc:sldMk cId="1275269959" sldId="2147469754"/>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10:37.852" v="4628" actId="20577"/>
        <pc:sldMkLst>
          <pc:docMk/>
          <pc:sldMk cId="3496277451" sldId="2147469755"/>
        </pc:sldMkLst>
        <pc:spChg chg="mod">
          <ac:chgData name="Kennie Pontoppidan" userId="0b66d239-c77c-454e-82ce-695a270d63fb" providerId="ADAL" clId="{11B5283E-F69C-413F-81B1-F3B8D4F6D7D3}" dt="2022-03-19T00:10:37.852" v="4628" actId="20577"/>
          <ac:spMkLst>
            <pc:docMk/>
            <pc:sldMk cId="3496277451" sldId="2147469755"/>
            <ac:spMk id="2" creationId="{B3CB952F-C2D5-4CBF-A8FD-DBB1745E4A54}"/>
          </ac:spMkLst>
        </pc:spChg>
        <pc:graphicFrameChg chg="del">
          <ac:chgData name="Kennie Pontoppidan" userId="0b66d239-c77c-454e-82ce-695a270d63fb" providerId="ADAL" clId="{11B5283E-F69C-413F-81B1-F3B8D4F6D7D3}" dt="2022-03-19T00:10:14.140" v="4611" actId="478"/>
          <ac:graphicFrameMkLst>
            <pc:docMk/>
            <pc:sldMk cId="3496277451" sldId="2147469755"/>
            <ac:graphicFrameMk id="3" creationId="{370D2163-63A1-48B9-9BD5-BA981E6AE3C1}"/>
          </ac:graphicFrameMkLst>
        </pc:graphicFrameChg>
        <pc:graphicFrameChg chg="add mod">
          <ac:chgData name="Kennie Pontoppidan" userId="0b66d239-c77c-454e-82ce-695a270d63fb" providerId="ADAL" clId="{11B5283E-F69C-413F-81B1-F3B8D4F6D7D3}" dt="2022-03-19T00:10:20.939" v="4615" actId="1076"/>
          <ac:graphicFrameMkLst>
            <pc:docMk/>
            <pc:sldMk cId="3496277451" sldId="2147469755"/>
            <ac:graphicFrameMk id="4" creationId="{5FB64B20-9526-4508-952E-201104CCC9F1}"/>
          </ac:graphicFrameMkLst>
        </pc:graphicFrameChg>
      </pc:sldChg>
      <pc:sldChg chg="addSp delSp modSp new mod modClrScheme chgLayout">
        <pc:chgData name="Kennie Pontoppidan" userId="0b66d239-c77c-454e-82ce-695a270d63fb" providerId="ADAL" clId="{11B5283E-F69C-413F-81B1-F3B8D4F6D7D3}" dt="2022-03-19T14:38:59.538" v="4690" actId="20577"/>
        <pc:sldMkLst>
          <pc:docMk/>
          <pc:sldMk cId="343811592" sldId="2147469756"/>
        </pc:sldMkLst>
        <pc:spChg chg="del mod ord">
          <ac:chgData name="Kennie Pontoppidan" userId="0b66d239-c77c-454e-82ce-695a270d63fb" providerId="ADAL" clId="{11B5283E-F69C-413F-81B1-F3B8D4F6D7D3}" dt="2022-03-19T14:38:33.628" v="4644" actId="700"/>
          <ac:spMkLst>
            <pc:docMk/>
            <pc:sldMk cId="343811592" sldId="2147469756"/>
            <ac:spMk id="2" creationId="{2DB43261-4864-4462-BB97-28C3BDE161B1}"/>
          </ac:spMkLst>
        </pc:spChg>
        <pc:spChg chg="del mod ord">
          <ac:chgData name="Kennie Pontoppidan" userId="0b66d239-c77c-454e-82ce-695a270d63fb" providerId="ADAL" clId="{11B5283E-F69C-413F-81B1-F3B8D4F6D7D3}" dt="2022-03-19T14:38:33.628" v="4644" actId="700"/>
          <ac:spMkLst>
            <pc:docMk/>
            <pc:sldMk cId="343811592" sldId="2147469756"/>
            <ac:spMk id="3" creationId="{54FAC61A-8985-4408-A9E2-B01ED15D56F0}"/>
          </ac:spMkLst>
        </pc:spChg>
        <pc:spChg chg="add mod ord">
          <ac:chgData name="Kennie Pontoppidan" userId="0b66d239-c77c-454e-82ce-695a270d63fb" providerId="ADAL" clId="{11B5283E-F69C-413F-81B1-F3B8D4F6D7D3}" dt="2022-03-19T14:38:59.538" v="4690" actId="20577"/>
          <ac:spMkLst>
            <pc:docMk/>
            <pc:sldMk cId="343811592" sldId="2147469756"/>
            <ac:spMk id="4" creationId="{6255CD42-10A4-45D1-8100-0ECE0A6B8253}"/>
          </ac:spMkLst>
        </pc:spChg>
        <pc:spChg chg="add mod ord">
          <ac:chgData name="Kennie Pontoppidan" userId="0b66d239-c77c-454e-82ce-695a270d63fb" providerId="ADAL" clId="{11B5283E-F69C-413F-81B1-F3B8D4F6D7D3}" dt="2022-03-19T14:38:53.608" v="4685" actId="20577"/>
          <ac:spMkLst>
            <pc:docMk/>
            <pc:sldMk cId="343811592" sldId="2147469756"/>
            <ac:spMk id="5" creationId="{0C781732-2215-4599-BEE5-E7A4926CF410}"/>
          </ac:spMkLst>
        </pc:spChg>
      </pc:sldChg>
      <pc:sldChg chg="add">
        <pc:chgData name="Kennie Pontoppidan" userId="0b66d239-c77c-454e-82ce-695a270d63fb" providerId="ADAL" clId="{11B5283E-F69C-413F-81B1-F3B8D4F6D7D3}" dt="2022-03-19T20:26:19.022" v="4691"/>
        <pc:sldMkLst>
          <pc:docMk/>
          <pc:sldMk cId="2253501169" sldId="2147469757"/>
        </pc:sldMkLst>
      </pc:sldChg>
      <pc:sldMasterChg chg="delSldLayout">
        <pc:chgData name="Kennie Pontoppidan" userId="0b66d239-c77c-454e-82ce-695a270d63fb" providerId="ADAL" clId="{11B5283E-F69C-413F-81B1-F3B8D4F6D7D3}" dt="2022-03-18T19:03:07.119" v="1377" actId="18676"/>
        <pc:sldMasterMkLst>
          <pc:docMk/>
          <pc:sldMasterMk cId="3887644413" sldId="2147483807"/>
        </pc:sldMasterMkLst>
        <pc:sldLayoutChg chg="del">
          <pc:chgData name="Kennie Pontoppidan" userId="0b66d239-c77c-454e-82ce-695a270d63fb" providerId="ADAL" clId="{11B5283E-F69C-413F-81B1-F3B8D4F6D7D3}" dt="2022-03-18T19:03:07.119" v="1377" actId="18676"/>
          <pc:sldLayoutMkLst>
            <pc:docMk/>
            <pc:sldMasterMk cId="3887644413" sldId="2147483807"/>
            <pc:sldLayoutMk cId="3853803678" sldId="214748385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621BE3-4E76-4D72-BB0A-4D4BC65E0001}" type="datetimeFigureOut">
              <a:rPr lang="en-US" smtClean="0"/>
              <a:t>9/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1C7AFD-5C62-49A3-B4AB-A9940E61FC33}" type="slidenum">
              <a:rPr lang="en-US" smtClean="0"/>
              <a:t>‹#›</a:t>
            </a:fld>
            <a:endParaRPr lang="en-US"/>
          </a:p>
        </p:txBody>
      </p:sp>
    </p:spTree>
    <p:extLst>
      <p:ext uri="{BB962C8B-B14F-4D97-AF65-F5344CB8AC3E}">
        <p14:creationId xmlns:p14="http://schemas.microsoft.com/office/powerpoint/2010/main" val="245681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se file sharing experiences are consistent across the business application, giving you the choice to Open, Share or download, and handling file collisions this same way.</a:t>
            </a:r>
          </a:p>
          <a:p>
            <a:r>
              <a:rPr lang="en-US" dirty="0"/>
              <a:t>Next, lets look at examples of System features</a:t>
            </a:r>
            <a:endParaRPr lang="LID4096"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30/2023 3: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640197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few system-wide features that take advantage of OneDrive</a:t>
            </a:r>
          </a:p>
          <a:p>
            <a:pPr marL="171450" indent="-171450">
              <a:buFont typeface="Arial" panose="020B0604020202020204" pitchFamily="34" charset="0"/>
              <a:buChar char="•"/>
            </a:pPr>
            <a:r>
              <a:rPr lang="en-US"/>
              <a:t>Exporting lists to Excel</a:t>
            </a:r>
          </a:p>
          <a:p>
            <a:pPr marL="171450" indent="-171450">
              <a:buFont typeface="Arial" panose="020B0604020202020204" pitchFamily="34" charset="0"/>
              <a:buChar char="•"/>
            </a:pPr>
            <a:r>
              <a:rPr lang="en-US"/>
              <a:t>And also exporting Reports to Excel, Word</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Sam why don’t you show us how Edit in Excel works with OneDriv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30/2023 3: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04079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g. protect the data sheet</a:t>
            </a:r>
          </a:p>
        </p:txBody>
      </p:sp>
      <p:sp>
        <p:nvSpPr>
          <p:cNvPr id="4" name="Slide Number Placeholder 3"/>
          <p:cNvSpPr>
            <a:spLocks noGrp="1"/>
          </p:cNvSpPr>
          <p:nvPr>
            <p:ph type="sldNum" sz="quarter" idx="5"/>
          </p:nvPr>
        </p:nvSpPr>
        <p:spPr/>
        <p:txBody>
          <a:bodyPr/>
          <a:lstStyle/>
          <a:p>
            <a:fld id="{541C7AFD-5C62-49A3-B4AB-A9940E61FC33}" type="slidenum">
              <a:rPr lang="en-US" smtClean="0"/>
              <a:t>50</a:t>
            </a:fld>
            <a:endParaRPr lang="en-US"/>
          </a:p>
        </p:txBody>
      </p:sp>
    </p:spTree>
    <p:extLst>
      <p:ext uri="{BB962C8B-B14F-4D97-AF65-F5344CB8AC3E}">
        <p14:creationId xmlns:p14="http://schemas.microsoft.com/office/powerpoint/2010/main" val="3925968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tect the report before distributing to others</a:t>
            </a:r>
          </a:p>
        </p:txBody>
      </p:sp>
      <p:sp>
        <p:nvSpPr>
          <p:cNvPr id="4" name="Slide Number Placeholder 3"/>
          <p:cNvSpPr>
            <a:spLocks noGrp="1"/>
          </p:cNvSpPr>
          <p:nvPr>
            <p:ph type="sldNum" sz="quarter" idx="5"/>
          </p:nvPr>
        </p:nvSpPr>
        <p:spPr/>
        <p:txBody>
          <a:bodyPr/>
          <a:lstStyle/>
          <a:p>
            <a:fld id="{541C7AFD-5C62-49A3-B4AB-A9940E61FC33}" type="slidenum">
              <a:rPr lang="en-US" smtClean="0"/>
              <a:t>51</a:t>
            </a:fld>
            <a:endParaRPr lang="en-US"/>
          </a:p>
        </p:txBody>
      </p:sp>
    </p:spTree>
    <p:extLst>
      <p:ext uri="{BB962C8B-B14F-4D97-AF65-F5344CB8AC3E}">
        <p14:creationId xmlns:p14="http://schemas.microsoft.com/office/powerpoint/2010/main" val="2999572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built-in M365 features</a:t>
            </a:r>
          </a:p>
        </p:txBody>
      </p:sp>
      <p:sp>
        <p:nvSpPr>
          <p:cNvPr id="4" name="Slide Number Placeholder 3"/>
          <p:cNvSpPr>
            <a:spLocks noGrp="1"/>
          </p:cNvSpPr>
          <p:nvPr>
            <p:ph type="sldNum" sz="quarter" idx="5"/>
          </p:nvPr>
        </p:nvSpPr>
        <p:spPr/>
        <p:txBody>
          <a:bodyPr/>
          <a:lstStyle/>
          <a:p>
            <a:fld id="{541C7AFD-5C62-49A3-B4AB-A9940E61FC33}" type="slidenum">
              <a:rPr lang="en-US" smtClean="0"/>
              <a:t>52</a:t>
            </a:fld>
            <a:endParaRPr lang="en-US"/>
          </a:p>
        </p:txBody>
      </p:sp>
    </p:spTree>
    <p:extLst>
      <p:ext uri="{BB962C8B-B14F-4D97-AF65-F5344CB8AC3E}">
        <p14:creationId xmlns:p14="http://schemas.microsoft.com/office/powerpoint/2010/main" val="93318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report to start automation</a:t>
            </a:r>
          </a:p>
        </p:txBody>
      </p:sp>
      <p:sp>
        <p:nvSpPr>
          <p:cNvPr id="4" name="Slide Number Placeholder 3"/>
          <p:cNvSpPr>
            <a:spLocks noGrp="1"/>
          </p:cNvSpPr>
          <p:nvPr>
            <p:ph type="sldNum" sz="quarter" idx="5"/>
          </p:nvPr>
        </p:nvSpPr>
        <p:spPr/>
        <p:txBody>
          <a:bodyPr/>
          <a:lstStyle/>
          <a:p>
            <a:fld id="{541C7AFD-5C62-49A3-B4AB-A9940E61FC33}" type="slidenum">
              <a:rPr lang="en-US" smtClean="0"/>
              <a:t>53</a:t>
            </a:fld>
            <a:endParaRPr lang="en-US"/>
          </a:p>
        </p:txBody>
      </p:sp>
    </p:spTree>
    <p:extLst>
      <p:ext uri="{BB962C8B-B14F-4D97-AF65-F5344CB8AC3E}">
        <p14:creationId xmlns:p14="http://schemas.microsoft.com/office/powerpoint/2010/main" val="427579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24.png"/><Relationship Id="rId4" Type="http://schemas.openxmlformats.org/officeDocument/2006/relationships/image" Target="../media/image23.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8.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 Id="rId4" Type="http://schemas.openxmlformats.org/officeDocument/2006/relationships/image" Target="../media/image4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 Id="rId4" Type="http://schemas.openxmlformats.org/officeDocument/2006/relationships/image" Target="../media/image70.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6.xml"/><Relationship Id="rId5" Type="http://schemas.openxmlformats.org/officeDocument/2006/relationships/image" Target="../media/image74.jpeg"/><Relationship Id="rId4" Type="http://schemas.openxmlformats.org/officeDocument/2006/relationships/image" Target="../media/image73.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A486-47E0-432E-8A0C-9624BF2C71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E803B4-2FE6-42D9-A171-869F7B635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676AACA-9FB1-488A-BD0D-EB119BFA1E7F}"/>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5" name="Footer Placeholder 4">
            <a:extLst>
              <a:ext uri="{FF2B5EF4-FFF2-40B4-BE49-F238E27FC236}">
                <a16:creationId xmlns:a16="http://schemas.microsoft.com/office/drawing/2014/main" id="{4819DE74-0468-49A9-8A04-B43F7157E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017E0E-47DF-4649-8E9B-BB09175C0535}"/>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29730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5C7-C643-496B-8CAF-90BE77FC2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4047D-D647-4B95-9ACD-FAE2A871F1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BE355-F367-4E7D-9EFB-5E049B2F1A10}"/>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5" name="Footer Placeholder 4">
            <a:extLst>
              <a:ext uri="{FF2B5EF4-FFF2-40B4-BE49-F238E27FC236}">
                <a16:creationId xmlns:a16="http://schemas.microsoft.com/office/drawing/2014/main" id="{5379A033-3EC2-4174-9582-CB452EE88E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E6084-FE68-4357-A241-4968228B57BD}"/>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723631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BE8440-025D-4CAC-827B-A2979469B515}"/>
              </a:ext>
            </a:extLst>
          </p:cNvPr>
          <p:cNvSpPr/>
          <p:nvPr userDrawn="1"/>
        </p:nvSpPr>
        <p:spPr>
          <a:xfrm>
            <a:off x="3115349" y="6633883"/>
            <a:ext cx="6096000" cy="226793"/>
          </a:xfrm>
          <a:prstGeom prst="rect">
            <a:avLst/>
          </a:prstGeom>
        </p:spPr>
        <p:txBody>
          <a:bodyPr>
            <a:spAutoFit/>
          </a:bodyPr>
          <a:lstStyle/>
          <a:p>
            <a:pPr algn="ctr" defTabSz="822813" fontAlgn="base">
              <a:lnSpc>
                <a:spcPct val="90000"/>
              </a:lnSpc>
              <a:spcBef>
                <a:spcPct val="0"/>
              </a:spcBef>
              <a:spcAft>
                <a:spcPct val="0"/>
              </a:spcAft>
            </a:pPr>
            <a:r>
              <a:rPr lang="en-US" sz="971">
                <a:solidFill>
                  <a:srgbClr val="FF0000"/>
                </a:solidFill>
                <a:ea typeface="Segoe UI" pitchFamily="34" charset="0"/>
                <a:cs typeface="Segoe UI" pitchFamily="34" charset="0"/>
              </a:rPr>
              <a:t>Microsoft &amp; Partner NDA Only</a:t>
            </a:r>
          </a:p>
        </p:txBody>
      </p:sp>
      <p:sp>
        <p:nvSpPr>
          <p:cNvPr id="4" name="Rectangle 3">
            <a:extLst>
              <a:ext uri="{FF2B5EF4-FFF2-40B4-BE49-F238E27FC236}">
                <a16:creationId xmlns:a16="http://schemas.microsoft.com/office/drawing/2014/main" id="{6FC46E85-C02B-495B-8196-76200C29F95F}"/>
              </a:ext>
            </a:extLst>
          </p:cNvPr>
          <p:cNvSpPr/>
          <p:nvPr userDrawn="1"/>
        </p:nvSpPr>
        <p:spPr>
          <a:xfrm>
            <a:off x="155447" y="134024"/>
            <a:ext cx="11880690" cy="322729"/>
          </a:xfrm>
          <a:prstGeom prst="rect">
            <a:avLst/>
          </a:prstGeom>
          <a:solidFill>
            <a:srgbClr val="0070C0"/>
          </a:solidFill>
          <a:ln w="12700" cap="flat" cmpd="sng" algn="ctr">
            <a:noFill/>
            <a:prstDash val="solid"/>
            <a:miter lim="800000"/>
          </a:ln>
          <a:effectLst/>
        </p:spPr>
        <p:txBody>
          <a:bodyPr rtlCol="0" anchor="ctr"/>
          <a:lstStyle/>
          <a:p>
            <a:pPr lvl="0" defTabSz="403433"/>
            <a:endParaRPr lang="en-US" sz="1235">
              <a:solidFill>
                <a:srgbClr val="FFFFFF"/>
              </a:solidFill>
              <a:latin typeface="Segoe UI Semibold" panose="020B0702040204020203" pitchFamily="34" charset="0"/>
            </a:endParaRPr>
          </a:p>
        </p:txBody>
      </p:sp>
      <p:pic>
        <p:nvPicPr>
          <p:cNvPr id="5" name="Picture 4">
            <a:extLst>
              <a:ext uri="{FF2B5EF4-FFF2-40B4-BE49-F238E27FC236}">
                <a16:creationId xmlns:a16="http://schemas.microsoft.com/office/drawing/2014/main" id="{56217F10-E8A5-4388-B655-8268AA6A94BF}"/>
              </a:ext>
            </a:extLst>
          </p:cNvPr>
          <p:cNvPicPr>
            <a:picLocks noChangeAspect="1"/>
          </p:cNvPicPr>
          <p:nvPr userDrawn="1"/>
        </p:nvPicPr>
        <p:blipFill>
          <a:blip r:embed="rId5"/>
          <a:stretch>
            <a:fillRect/>
          </a:stretch>
        </p:blipFill>
        <p:spPr>
          <a:xfrm>
            <a:off x="10729362" y="205152"/>
            <a:ext cx="1135518" cy="180473"/>
          </a:xfrm>
          <a:prstGeom prst="rect">
            <a:avLst/>
          </a:prstGeom>
        </p:spPr>
      </p:pic>
      <p:sp>
        <p:nvSpPr>
          <p:cNvPr id="3" name="Title 2">
            <a:extLst>
              <a:ext uri="{FF2B5EF4-FFF2-40B4-BE49-F238E27FC236}">
                <a16:creationId xmlns:a16="http://schemas.microsoft.com/office/drawing/2014/main" id="{92D60A87-DD4A-4C78-A287-F6634FE53476}"/>
              </a:ext>
            </a:extLst>
          </p:cNvPr>
          <p:cNvSpPr>
            <a:spLocks noGrp="1"/>
          </p:cNvSpPr>
          <p:nvPr>
            <p:ph type="title"/>
          </p:nvPr>
        </p:nvSpPr>
        <p:spPr>
          <a:xfrm>
            <a:off x="155865" y="187441"/>
            <a:ext cx="11473967" cy="215896"/>
          </a:xfrm>
        </p:spPr>
        <p:txBody>
          <a:bodyPr lIns="91440" rIns="91440" anchor="ctr"/>
          <a:lstStyle>
            <a:lvl1pPr>
              <a:defRPr lang="en-US" sz="1235" kern="1200" dirty="0">
                <a:solidFill>
                  <a:srgbClr val="FFFFFF"/>
                </a:solidFill>
                <a:latin typeface="Segoe UI Semibold" panose="020B0702040204020203" pitchFamily="34" charset="0"/>
                <a:ea typeface="+mn-ea"/>
                <a:cs typeface="+mn-cs"/>
              </a:defRPr>
            </a:lvl1pPr>
          </a:lstStyle>
          <a:p>
            <a:pPr marL="0" lvl="0" algn="l" defTabSz="403433" rtl="0" eaLnBrk="1" latinLnBrk="0" hangingPunct="1"/>
            <a:r>
              <a:rPr lang="en-US"/>
              <a:t>Click to edit Master title style</a:t>
            </a:r>
          </a:p>
        </p:txBody>
      </p:sp>
    </p:spTree>
    <p:extLst>
      <p:ext uri="{BB962C8B-B14F-4D97-AF65-F5344CB8AC3E}">
        <p14:creationId xmlns:p14="http://schemas.microsoft.com/office/powerpoint/2010/main" val="359668024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eft  HC Slide text ">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A967A0-C45B-4E29-80EE-14E7A46EEBB6}"/>
              </a:ext>
            </a:extLst>
          </p:cNvPr>
          <p:cNvSpPr/>
          <p:nvPr userDrawn="1"/>
        </p:nvSpPr>
        <p:spPr bwMode="auto">
          <a:xfrm>
            <a:off x="0" y="0"/>
            <a:ext cx="6424955" cy="6858000"/>
          </a:xfrm>
          <a:prstGeom prst="rect">
            <a:avLst/>
          </a:prstGeom>
          <a:solidFill>
            <a:schemeClr val="tx2">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88DFCB00-71B1-4545-A301-2F249ADA18B2}"/>
              </a:ext>
            </a:extLst>
          </p:cNvPr>
          <p:cNvSpPr>
            <a:spLocks noGrp="1"/>
          </p:cNvSpPr>
          <p:nvPr>
            <p:ph type="pic" sz="quarter" idx="11"/>
          </p:nvPr>
        </p:nvSpPr>
        <p:spPr>
          <a:xfrm>
            <a:off x="361839" y="289508"/>
            <a:ext cx="5734162" cy="6278983"/>
          </a:xfrm>
        </p:spPr>
        <p:txBody>
          <a:body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656492" y="2403475"/>
            <a:ext cx="4557714" cy="813819"/>
          </a:xfrm>
        </p:spPr>
        <p:txBody>
          <a:bodyPr/>
          <a:lstStyle>
            <a:lvl1pPr>
              <a:defRPr sz="3600">
                <a:solidFill>
                  <a:schemeClr val="bg1"/>
                </a:solidFill>
              </a:defRPr>
            </a:lvl1pPr>
          </a:lstStyle>
          <a:p>
            <a:r>
              <a:rPr lang="en-US"/>
              <a:t>Click to edit Master title style</a:t>
            </a:r>
          </a:p>
        </p:txBody>
      </p:sp>
      <p:sp>
        <p:nvSpPr>
          <p:cNvPr id="5" name="Footer Placeholder 14">
            <a:extLst>
              <a:ext uri="{FF2B5EF4-FFF2-40B4-BE49-F238E27FC236}">
                <a16:creationId xmlns:a16="http://schemas.microsoft.com/office/drawing/2014/main" id="{498D9DF7-9C88-4B62-89FD-C11A060A368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6" name="Text Placeholder 3">
            <a:extLst>
              <a:ext uri="{FF2B5EF4-FFF2-40B4-BE49-F238E27FC236}">
                <a16:creationId xmlns:a16="http://schemas.microsoft.com/office/drawing/2014/main" id="{7ED92A0D-B35B-48F7-89D0-C5D0A95FC137}"/>
              </a:ext>
            </a:extLst>
          </p:cNvPr>
          <p:cNvSpPr>
            <a:spLocks noGrp="1"/>
          </p:cNvSpPr>
          <p:nvPr>
            <p:ph type="body" sz="quarter" idx="10"/>
          </p:nvPr>
        </p:nvSpPr>
        <p:spPr>
          <a:xfrm>
            <a:off x="643262" y="3501875"/>
            <a:ext cx="4557714" cy="1046440"/>
          </a:xfrm>
        </p:spPr>
        <p:txBody>
          <a:bodyPr/>
          <a:lstStyle>
            <a:lvl1pPr>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685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Media Placeholder 5">
            <a:extLst>
              <a:ext uri="{FF2B5EF4-FFF2-40B4-BE49-F238E27FC236}">
                <a16:creationId xmlns:a16="http://schemas.microsoft.com/office/drawing/2014/main" id="{E69CFFD7-FE10-4301-A248-8B40AD4EF6BA}"/>
              </a:ext>
            </a:extLst>
          </p:cNvPr>
          <p:cNvSpPr>
            <a:spLocks noGrp="1" noChangeAspect="1"/>
          </p:cNvSpPr>
          <p:nvPr>
            <p:ph type="media" sz="quarter" idx="12"/>
          </p:nvPr>
        </p:nvSpPr>
        <p:spPr>
          <a:xfrm>
            <a:off x="8181148"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43658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2924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877917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4204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gradFill>
                  <a:gsLst>
                    <a:gs pos="0">
                      <a:schemeClr val="tx2"/>
                    </a:gs>
                    <a:gs pos="100000">
                      <a:schemeClr val="tx2"/>
                    </a:gs>
                  </a:gsLst>
                  <a:lin ang="5400000" scaled="0"/>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2502EEEB-AEE9-4C24-A33D-05F4354133E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23895038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6800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776049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0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E1CA7-22C3-4EBE-BA45-B0D3A17D4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6EC65B-EAC4-426B-9ECF-2160AD6B46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81CC7-5489-4EDE-B243-D8A1A108A44F}"/>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5" name="Footer Placeholder 4">
            <a:extLst>
              <a:ext uri="{FF2B5EF4-FFF2-40B4-BE49-F238E27FC236}">
                <a16:creationId xmlns:a16="http://schemas.microsoft.com/office/drawing/2014/main" id="{3D4C93E2-B1D9-468F-8D8B-73DA16A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260B3-1DD7-46D2-B367-954D544CAA7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71753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005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895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76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252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5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612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Key investment slid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4DC759-C595-4179-96F4-9EAE2751E1C7}"/>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7462" r="34737" b="45338"/>
          <a:stretch/>
        </p:blipFill>
        <p:spPr>
          <a:xfrm>
            <a:off x="9588416" y="4989443"/>
            <a:ext cx="2603584" cy="186537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lvl1pPr>
          </a:lstStyle>
          <a:p>
            <a:r>
              <a:rPr lang="en-US"/>
              <a:t>Click to edit Master title style</a:t>
            </a:r>
          </a:p>
        </p:txBody>
      </p:sp>
      <p:sp>
        <p:nvSpPr>
          <p:cNvPr id="61" name="Text Placeholder 51">
            <a:extLst>
              <a:ext uri="{FF2B5EF4-FFF2-40B4-BE49-F238E27FC236}">
                <a16:creationId xmlns:a16="http://schemas.microsoft.com/office/drawing/2014/main" id="{ACB9F051-8F01-4E29-A8FE-B147A65526D2}"/>
              </a:ext>
            </a:extLst>
          </p:cNvPr>
          <p:cNvSpPr>
            <a:spLocks noGrp="1"/>
          </p:cNvSpPr>
          <p:nvPr>
            <p:ph type="body" sz="quarter" idx="19" hasCustomPrompt="1"/>
          </p:nvPr>
        </p:nvSpPr>
        <p:spPr>
          <a:xfrm>
            <a:off x="1142777" y="1463383"/>
            <a:ext cx="3012653" cy="307777"/>
          </a:xfrm>
        </p:spPr>
        <p:txBody>
          <a:bodyPr lIns="91440" tIns="0" rIns="91440" bIns="0"/>
          <a:lstStyle>
            <a:lvl1pPr marL="0" indent="0">
              <a:buNone/>
              <a:defRPr sz="2000">
                <a:gradFill>
                  <a:gsLst>
                    <a:gs pos="100000">
                      <a:schemeClr val="tx1"/>
                    </a:gs>
                    <a:gs pos="0">
                      <a:schemeClr val="tx1"/>
                    </a:gs>
                  </a:gsLst>
                  <a:lin ang="2700000" scaled="1"/>
                </a:gradFill>
                <a:latin typeface="+mj-lt"/>
              </a:defRPr>
            </a:lvl1pPr>
          </a:lstStyle>
          <a:p>
            <a:pPr lvl="0"/>
            <a:r>
              <a:rPr lang="en-US"/>
              <a:t>Our goals</a:t>
            </a:r>
          </a:p>
        </p:txBody>
      </p:sp>
      <p:sp>
        <p:nvSpPr>
          <p:cNvPr id="62" name="Text Placeholder 51">
            <a:extLst>
              <a:ext uri="{FF2B5EF4-FFF2-40B4-BE49-F238E27FC236}">
                <a16:creationId xmlns:a16="http://schemas.microsoft.com/office/drawing/2014/main" id="{469DEF8D-18A4-4A1C-82FD-CCD8B0439919}"/>
              </a:ext>
            </a:extLst>
          </p:cNvPr>
          <p:cNvSpPr>
            <a:spLocks noGrp="1"/>
          </p:cNvSpPr>
          <p:nvPr>
            <p:ph type="body" sz="quarter" idx="20" hasCustomPrompt="1"/>
          </p:nvPr>
        </p:nvSpPr>
        <p:spPr>
          <a:xfrm>
            <a:off x="588263" y="1931793"/>
            <a:ext cx="3657600" cy="400110"/>
          </a:xfrm>
        </p:spPr>
        <p:txBody>
          <a:bodyPr lIns="91440" tIns="91440" rIns="91440" bIns="91440"/>
          <a:lstStyle>
            <a:lvl1pPr marL="0" indent="0">
              <a:buNone/>
              <a:defRPr sz="1400">
                <a:gradFill>
                  <a:gsLst>
                    <a:gs pos="100000">
                      <a:schemeClr val="accent1"/>
                    </a:gs>
                    <a:gs pos="0">
                      <a:schemeClr val="accent1"/>
                    </a:gs>
                  </a:gsLst>
                  <a:lin ang="2700000" scaled="1"/>
                </a:gradFill>
                <a:latin typeface="+mj-lt"/>
              </a:defRPr>
            </a:lvl1pPr>
          </a:lstStyle>
          <a:p>
            <a:pPr lvl="0"/>
            <a:r>
              <a:rPr lang="en-US"/>
              <a:t>Placeholder title </a:t>
            </a:r>
          </a:p>
        </p:txBody>
      </p:sp>
      <p:sp>
        <p:nvSpPr>
          <p:cNvPr id="63" name="Text Placeholder 51">
            <a:extLst>
              <a:ext uri="{FF2B5EF4-FFF2-40B4-BE49-F238E27FC236}">
                <a16:creationId xmlns:a16="http://schemas.microsoft.com/office/drawing/2014/main" id="{718066BF-FF36-4FA1-BDD8-72D6831FFA91}"/>
              </a:ext>
            </a:extLst>
          </p:cNvPr>
          <p:cNvSpPr>
            <a:spLocks noGrp="1"/>
          </p:cNvSpPr>
          <p:nvPr>
            <p:ph type="body" sz="quarter" idx="21" hasCustomPrompt="1"/>
          </p:nvPr>
        </p:nvSpPr>
        <p:spPr>
          <a:xfrm>
            <a:off x="588263" y="2338758"/>
            <a:ext cx="3657600" cy="954107"/>
          </a:xfrm>
        </p:spPr>
        <p:txBody>
          <a:bodyPr lIns="91440" tIns="0" rIns="91440" bIns="91440"/>
          <a:lstStyle>
            <a:lvl1pPr marL="171450" indent="-171450">
              <a:spcBef>
                <a:spcPts val="0"/>
              </a:spcBef>
              <a:spcAft>
                <a:spcPts val="1200"/>
              </a:spcAft>
              <a:buFont typeface="Arial" panose="020B0604020202020204" pitchFamily="34" charset="0"/>
              <a:buChar char="•"/>
              <a:defRPr sz="1200">
                <a:latin typeface="+mn-lt"/>
              </a:defRPr>
            </a:lvl1pPr>
          </a:lstStyle>
          <a:p>
            <a:pPr lvl="0"/>
            <a:r>
              <a:rPr lang="en-US"/>
              <a:t>Placeholder text</a:t>
            </a:r>
          </a:p>
          <a:p>
            <a:pPr lvl="0"/>
            <a:r>
              <a:rPr lang="en-US"/>
              <a:t>Placeholder text</a:t>
            </a:r>
          </a:p>
          <a:p>
            <a:pPr lvl="0"/>
            <a:r>
              <a:rPr lang="en-US"/>
              <a:t>Placeholder text</a:t>
            </a:r>
          </a:p>
        </p:txBody>
      </p:sp>
      <p:sp>
        <p:nvSpPr>
          <p:cNvPr id="60" name="Text Placeholder 51">
            <a:extLst>
              <a:ext uri="{FF2B5EF4-FFF2-40B4-BE49-F238E27FC236}">
                <a16:creationId xmlns:a16="http://schemas.microsoft.com/office/drawing/2014/main" id="{E81EAC2C-D6BB-40E7-AF4C-D7382BD7AD49}"/>
              </a:ext>
            </a:extLst>
          </p:cNvPr>
          <p:cNvSpPr>
            <a:spLocks noGrp="1"/>
          </p:cNvSpPr>
          <p:nvPr>
            <p:ph type="body" sz="quarter" idx="18" hasCustomPrompt="1"/>
          </p:nvPr>
        </p:nvSpPr>
        <p:spPr>
          <a:xfrm>
            <a:off x="5321540" y="1463383"/>
            <a:ext cx="6194811" cy="307777"/>
          </a:xfrm>
        </p:spPr>
        <p:txBody>
          <a:bodyPr lIns="91440" tIns="0" rIns="0" bIns="0"/>
          <a:lstStyle>
            <a:lvl1pPr marL="0" indent="0">
              <a:buNone/>
              <a:defRPr sz="2000">
                <a:gradFill>
                  <a:gsLst>
                    <a:gs pos="100000">
                      <a:schemeClr val="tx1"/>
                    </a:gs>
                    <a:gs pos="0">
                      <a:schemeClr val="tx1"/>
                    </a:gs>
                  </a:gsLst>
                  <a:lin ang="2700000" scaled="1"/>
                </a:gradFill>
                <a:latin typeface="+mj-lt"/>
              </a:defRPr>
            </a:lvl1pPr>
          </a:lstStyle>
          <a:p>
            <a:pPr lvl="0"/>
            <a:r>
              <a:rPr lang="en-US"/>
              <a:t>Key investment areas</a:t>
            </a:r>
          </a:p>
        </p:txBody>
      </p:sp>
      <p:sp>
        <p:nvSpPr>
          <p:cNvPr id="85" name="Text Placeholder 51">
            <a:extLst>
              <a:ext uri="{FF2B5EF4-FFF2-40B4-BE49-F238E27FC236}">
                <a16:creationId xmlns:a16="http://schemas.microsoft.com/office/drawing/2014/main" id="{38F14212-085C-4668-B14D-E26E02B1A7AD}"/>
              </a:ext>
            </a:extLst>
          </p:cNvPr>
          <p:cNvSpPr>
            <a:spLocks noGrp="1"/>
          </p:cNvSpPr>
          <p:nvPr>
            <p:ph type="body" sz="quarter" idx="23" hasCustomPrompt="1"/>
          </p:nvPr>
        </p:nvSpPr>
        <p:spPr>
          <a:xfrm>
            <a:off x="4722312"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1</a:t>
            </a:r>
          </a:p>
        </p:txBody>
      </p:sp>
      <p:sp>
        <p:nvSpPr>
          <p:cNvPr id="53" name="Text Placeholder 51">
            <a:extLst>
              <a:ext uri="{FF2B5EF4-FFF2-40B4-BE49-F238E27FC236}">
                <a16:creationId xmlns:a16="http://schemas.microsoft.com/office/drawing/2014/main" id="{6542DC12-EEB7-416D-B40D-A819F88E4285}"/>
              </a:ext>
            </a:extLst>
          </p:cNvPr>
          <p:cNvSpPr>
            <a:spLocks noGrp="1"/>
          </p:cNvSpPr>
          <p:nvPr>
            <p:ph type="body" sz="quarter" idx="11" hasCustomPrompt="1"/>
          </p:nvPr>
        </p:nvSpPr>
        <p:spPr>
          <a:xfrm>
            <a:off x="8269223"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2</a:t>
            </a:r>
          </a:p>
        </p:txBody>
      </p:sp>
      <p:sp>
        <p:nvSpPr>
          <p:cNvPr id="94" name="Text Placeholder 51">
            <a:extLst>
              <a:ext uri="{FF2B5EF4-FFF2-40B4-BE49-F238E27FC236}">
                <a16:creationId xmlns:a16="http://schemas.microsoft.com/office/drawing/2014/main" id="{8FD4E1B3-6586-4C3C-A9E7-B6AAEE7EB758}"/>
              </a:ext>
            </a:extLst>
          </p:cNvPr>
          <p:cNvSpPr>
            <a:spLocks noGrp="1"/>
          </p:cNvSpPr>
          <p:nvPr>
            <p:ph type="body" sz="quarter" idx="25" hasCustomPrompt="1"/>
          </p:nvPr>
        </p:nvSpPr>
        <p:spPr>
          <a:xfrm>
            <a:off x="4722311"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3</a:t>
            </a:r>
          </a:p>
        </p:txBody>
      </p:sp>
      <p:sp>
        <p:nvSpPr>
          <p:cNvPr id="93" name="Text Placeholder 51">
            <a:extLst>
              <a:ext uri="{FF2B5EF4-FFF2-40B4-BE49-F238E27FC236}">
                <a16:creationId xmlns:a16="http://schemas.microsoft.com/office/drawing/2014/main" id="{B249CCA9-D1CC-462E-A5F3-65676439125E}"/>
              </a:ext>
            </a:extLst>
          </p:cNvPr>
          <p:cNvSpPr>
            <a:spLocks noGrp="1"/>
          </p:cNvSpPr>
          <p:nvPr>
            <p:ph type="body" sz="quarter" idx="24" hasCustomPrompt="1"/>
          </p:nvPr>
        </p:nvSpPr>
        <p:spPr>
          <a:xfrm>
            <a:off x="8269223"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4</a:t>
            </a:r>
          </a:p>
        </p:txBody>
      </p:sp>
      <p:sp>
        <p:nvSpPr>
          <p:cNvPr id="64" name="Picture Placeholder 25">
            <a:extLst>
              <a:ext uri="{FF2B5EF4-FFF2-40B4-BE49-F238E27FC236}">
                <a16:creationId xmlns:a16="http://schemas.microsoft.com/office/drawing/2014/main" id="{2C1E7D28-A1FD-4E3C-A8CD-EEB5D5A0626D}"/>
              </a:ext>
              <a:ext uri="{C183D7F6-B498-43B3-948B-1728B52AA6E4}">
                <adec:decorative xmlns:adec="http://schemas.microsoft.com/office/drawing/2017/decorative" val="1"/>
              </a:ext>
            </a:extLst>
          </p:cNvPr>
          <p:cNvSpPr>
            <a:spLocks noGrp="1"/>
          </p:cNvSpPr>
          <p:nvPr>
            <p:ph type="pic" sz="quarter" idx="22" hasCustomPrompt="1"/>
          </p:nvPr>
        </p:nvSpPr>
        <p:spPr>
          <a:xfrm>
            <a:off x="11026934" y="457200"/>
            <a:ext cx="579849" cy="557784"/>
          </a:xfrm>
          <a:noFill/>
        </p:spPr>
        <p:txBody>
          <a:bodyPr wrap="none" anchor="ctr">
            <a:noAutofit/>
          </a:bodyPr>
          <a:lstStyle>
            <a:lvl1pPr marL="0" indent="0" algn="ctr">
              <a:buNone/>
              <a:defRPr sz="800">
                <a:gradFill>
                  <a:gsLst>
                    <a:gs pos="82000">
                      <a:schemeClr val="tx1"/>
                    </a:gs>
                    <a:gs pos="0">
                      <a:schemeClr val="tx1"/>
                    </a:gs>
                  </a:gsLst>
                  <a:lin ang="2700000" scaled="1"/>
                </a:gradFill>
                <a:latin typeface="+mj-lt"/>
              </a:defRPr>
            </a:lvl1pPr>
          </a:lstStyle>
          <a:p>
            <a:r>
              <a:rPr lang="en-US"/>
              <a:t>Product</a:t>
            </a:r>
            <a:br>
              <a:rPr lang="en-US"/>
            </a:br>
            <a:r>
              <a:rPr lang="en-US"/>
              <a:t>graphic</a:t>
            </a:r>
          </a:p>
        </p:txBody>
      </p:sp>
      <p:grpSp>
        <p:nvGrpSpPr>
          <p:cNvPr id="75" name="Group 74">
            <a:extLst>
              <a:ext uri="{FF2B5EF4-FFF2-40B4-BE49-F238E27FC236}">
                <a16:creationId xmlns:a16="http://schemas.microsoft.com/office/drawing/2014/main" id="{BB837C1E-F254-407D-AF0E-05AE60F3E466}"/>
              </a:ext>
              <a:ext uri="{C183D7F6-B498-43B3-948B-1728B52AA6E4}">
                <adec:decorative xmlns:adec="http://schemas.microsoft.com/office/drawing/2017/decorative" val="1"/>
              </a:ext>
            </a:extLst>
          </p:cNvPr>
          <p:cNvGrpSpPr/>
          <p:nvPr userDrawn="1"/>
        </p:nvGrpSpPr>
        <p:grpSpPr>
          <a:xfrm>
            <a:off x="588263" y="1388671"/>
            <a:ext cx="457200" cy="457200"/>
            <a:chOff x="588263" y="1664697"/>
            <a:chExt cx="570652" cy="570652"/>
          </a:xfrm>
        </p:grpSpPr>
        <p:sp>
          <p:nvSpPr>
            <p:cNvPr id="74" name="Oval 73">
              <a:extLst>
                <a:ext uri="{FF2B5EF4-FFF2-40B4-BE49-F238E27FC236}">
                  <a16:creationId xmlns:a16="http://schemas.microsoft.com/office/drawing/2014/main" id="{298741A5-A9D3-4C28-9397-332A669CC0E0}"/>
                </a:ext>
              </a:extLst>
            </p:cNvPr>
            <p:cNvSpPr/>
            <p:nvPr userDrawn="1"/>
          </p:nvSpPr>
          <p:spPr bwMode="auto">
            <a:xfrm>
              <a:off x="588263"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6" name="Group 31">
              <a:extLst>
                <a:ext uri="{FF2B5EF4-FFF2-40B4-BE49-F238E27FC236}">
                  <a16:creationId xmlns:a16="http://schemas.microsoft.com/office/drawing/2014/main" id="{7AEE84E5-D4FE-4102-852C-0B278F338CC9}"/>
                </a:ext>
              </a:extLst>
            </p:cNvPr>
            <p:cNvGrpSpPr>
              <a:grpSpLocks noChangeAspect="1"/>
            </p:cNvGrpSpPr>
            <p:nvPr userDrawn="1"/>
          </p:nvGrpSpPr>
          <p:grpSpPr bwMode="auto">
            <a:xfrm>
              <a:off x="699630" y="1776064"/>
              <a:ext cx="347918" cy="347918"/>
              <a:chOff x="4144" y="801"/>
              <a:chExt cx="256" cy="256"/>
            </a:xfrm>
          </p:grpSpPr>
          <p:sp>
            <p:nvSpPr>
              <p:cNvPr id="67" name="AutoShape 30">
                <a:extLst>
                  <a:ext uri="{FF2B5EF4-FFF2-40B4-BE49-F238E27FC236}">
                    <a16:creationId xmlns:a16="http://schemas.microsoft.com/office/drawing/2014/main" id="{4D799F82-C765-449B-8B1E-EEFFF34D51F9}"/>
                  </a:ext>
                </a:extLst>
              </p:cNvPr>
              <p:cNvSpPr>
                <a:spLocks noChangeAspect="1" noChangeArrowheads="1" noTextEdit="1"/>
              </p:cNvSpPr>
              <p:nvPr/>
            </p:nvSpPr>
            <p:spPr bwMode="auto">
              <a:xfrm>
                <a:off x="4144"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8" name="Freeform 32">
                <a:extLst>
                  <a:ext uri="{FF2B5EF4-FFF2-40B4-BE49-F238E27FC236}">
                    <a16:creationId xmlns:a16="http://schemas.microsoft.com/office/drawing/2014/main" id="{C78D34A3-DD58-46BB-BE71-7998A6BD1288}"/>
                  </a:ext>
                </a:extLst>
              </p:cNvPr>
              <p:cNvSpPr>
                <a:spLocks/>
              </p:cNvSpPr>
              <p:nvPr/>
            </p:nvSpPr>
            <p:spPr bwMode="auto">
              <a:xfrm>
                <a:off x="4210" y="921"/>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9" name="Freeform 33">
                <a:extLst>
                  <a:ext uri="{FF2B5EF4-FFF2-40B4-BE49-F238E27FC236}">
                    <a16:creationId xmlns:a16="http://schemas.microsoft.com/office/drawing/2014/main" id="{CAC201D5-98D1-4724-9E5C-DA463490C493}"/>
                  </a:ext>
                </a:extLst>
              </p:cNvPr>
              <p:cNvSpPr>
                <a:spLocks/>
              </p:cNvSpPr>
              <p:nvPr/>
            </p:nvSpPr>
            <p:spPr bwMode="auto">
              <a:xfrm>
                <a:off x="4210" y="988"/>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0" name="Freeform 34">
                <a:extLst>
                  <a:ext uri="{FF2B5EF4-FFF2-40B4-BE49-F238E27FC236}">
                    <a16:creationId xmlns:a16="http://schemas.microsoft.com/office/drawing/2014/main" id="{65076CF6-A88E-44A5-8A6D-FF4CCF8FA138}"/>
                  </a:ext>
                </a:extLst>
              </p:cNvPr>
              <p:cNvSpPr>
                <a:spLocks/>
              </p:cNvSpPr>
              <p:nvPr/>
            </p:nvSpPr>
            <p:spPr bwMode="auto">
              <a:xfrm>
                <a:off x="4210" y="856"/>
                <a:ext cx="198" cy="16"/>
              </a:xfrm>
              <a:custGeom>
                <a:avLst/>
                <a:gdLst>
                  <a:gd name="T0" fmla="*/ 0 w 320"/>
                  <a:gd name="T1" fmla="*/ 26 h 26"/>
                  <a:gd name="T2" fmla="*/ 0 w 320"/>
                  <a:gd name="T3" fmla="*/ 26 h 26"/>
                  <a:gd name="T4" fmla="*/ 320 w 320"/>
                  <a:gd name="T5" fmla="*/ 26 h 26"/>
                  <a:gd name="T6" fmla="*/ 320 w 320"/>
                  <a:gd name="T7" fmla="*/ 0 h 26"/>
                  <a:gd name="T8" fmla="*/ 0 w 320"/>
                  <a:gd name="T9" fmla="*/ 0 h 26"/>
                  <a:gd name="T10" fmla="*/ 0 w 320"/>
                  <a:gd name="T11" fmla="*/ 26 h 26"/>
                </a:gdLst>
                <a:ahLst/>
                <a:cxnLst>
                  <a:cxn ang="0">
                    <a:pos x="T0" y="T1"/>
                  </a:cxn>
                  <a:cxn ang="0">
                    <a:pos x="T2" y="T3"/>
                  </a:cxn>
                  <a:cxn ang="0">
                    <a:pos x="T4" y="T5"/>
                  </a:cxn>
                  <a:cxn ang="0">
                    <a:pos x="T6" y="T7"/>
                  </a:cxn>
                  <a:cxn ang="0">
                    <a:pos x="T8" y="T9"/>
                  </a:cxn>
                  <a:cxn ang="0">
                    <a:pos x="T10" y="T11"/>
                  </a:cxn>
                </a:cxnLst>
                <a:rect l="0" t="0" r="r" b="b"/>
                <a:pathLst>
                  <a:path w="320" h="26">
                    <a:moveTo>
                      <a:pt x="0" y="26"/>
                    </a:moveTo>
                    <a:lnTo>
                      <a:pt x="0" y="26"/>
                    </a:lnTo>
                    <a:lnTo>
                      <a:pt x="320" y="26"/>
                    </a:lnTo>
                    <a:lnTo>
                      <a:pt x="320"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1" name="Freeform 35">
                <a:extLst>
                  <a:ext uri="{FF2B5EF4-FFF2-40B4-BE49-F238E27FC236}">
                    <a16:creationId xmlns:a16="http://schemas.microsoft.com/office/drawing/2014/main" id="{9E34F14F-309C-4DF1-8307-EB2426CAACE3}"/>
                  </a:ext>
                </a:extLst>
              </p:cNvPr>
              <p:cNvSpPr>
                <a:spLocks/>
              </p:cNvSpPr>
              <p:nvPr/>
            </p:nvSpPr>
            <p:spPr bwMode="auto">
              <a:xfrm>
                <a:off x="4150" y="839"/>
                <a:ext cx="21" cy="50"/>
              </a:xfrm>
              <a:custGeom>
                <a:avLst/>
                <a:gdLst>
                  <a:gd name="T0" fmla="*/ 0 w 34"/>
                  <a:gd name="T1" fmla="*/ 12 h 80"/>
                  <a:gd name="T2" fmla="*/ 0 w 34"/>
                  <a:gd name="T3" fmla="*/ 12 h 80"/>
                  <a:gd name="T4" fmla="*/ 0 w 34"/>
                  <a:gd name="T5" fmla="*/ 26 h 80"/>
                  <a:gd name="T6" fmla="*/ 9 w 34"/>
                  <a:gd name="T7" fmla="*/ 24 h 80"/>
                  <a:gd name="T8" fmla="*/ 17 w 34"/>
                  <a:gd name="T9" fmla="*/ 19 h 80"/>
                  <a:gd name="T10" fmla="*/ 17 w 34"/>
                  <a:gd name="T11" fmla="*/ 80 h 80"/>
                  <a:gd name="T12" fmla="*/ 34 w 34"/>
                  <a:gd name="T13" fmla="*/ 80 h 80"/>
                  <a:gd name="T14" fmla="*/ 34 w 34"/>
                  <a:gd name="T15" fmla="*/ 0 h 80"/>
                  <a:gd name="T16" fmla="*/ 24 w 34"/>
                  <a:gd name="T17" fmla="*/ 0 h 80"/>
                  <a:gd name="T18" fmla="*/ 13 w 34"/>
                  <a:gd name="T19" fmla="*/ 7 h 80"/>
                  <a:gd name="T20" fmla="*/ 0 w 34"/>
                  <a:gd name="T21"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0">
                    <a:moveTo>
                      <a:pt x="0" y="12"/>
                    </a:moveTo>
                    <a:lnTo>
                      <a:pt x="0" y="12"/>
                    </a:lnTo>
                    <a:lnTo>
                      <a:pt x="0" y="26"/>
                    </a:lnTo>
                    <a:cubicBezTo>
                      <a:pt x="3" y="26"/>
                      <a:pt x="6" y="25"/>
                      <a:pt x="9" y="24"/>
                    </a:cubicBezTo>
                    <a:cubicBezTo>
                      <a:pt x="13" y="22"/>
                      <a:pt x="15" y="21"/>
                      <a:pt x="17" y="19"/>
                    </a:cubicBezTo>
                    <a:lnTo>
                      <a:pt x="17" y="80"/>
                    </a:lnTo>
                    <a:lnTo>
                      <a:pt x="34" y="80"/>
                    </a:lnTo>
                    <a:lnTo>
                      <a:pt x="34" y="0"/>
                    </a:lnTo>
                    <a:lnTo>
                      <a:pt x="24" y="0"/>
                    </a:lnTo>
                    <a:cubicBezTo>
                      <a:pt x="20" y="2"/>
                      <a:pt x="17" y="5"/>
                      <a:pt x="13" y="7"/>
                    </a:cubicBezTo>
                    <a:cubicBezTo>
                      <a:pt x="9" y="8"/>
                      <a:pt x="5" y="10"/>
                      <a:pt x="0" y="1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2" name="Freeform 36">
                <a:extLst>
                  <a:ext uri="{FF2B5EF4-FFF2-40B4-BE49-F238E27FC236}">
                    <a16:creationId xmlns:a16="http://schemas.microsoft.com/office/drawing/2014/main" id="{DF380C6A-2C3D-4A39-9BAF-D01130CDC82D}"/>
                  </a:ext>
                </a:extLst>
              </p:cNvPr>
              <p:cNvSpPr>
                <a:spLocks/>
              </p:cNvSpPr>
              <p:nvPr/>
            </p:nvSpPr>
            <p:spPr bwMode="auto">
              <a:xfrm>
                <a:off x="4145" y="971"/>
                <a:ext cx="31" cy="51"/>
              </a:xfrm>
              <a:custGeom>
                <a:avLst/>
                <a:gdLst>
                  <a:gd name="T0" fmla="*/ 41 w 50"/>
                  <a:gd name="T1" fmla="*/ 76 h 82"/>
                  <a:gd name="T2" fmla="*/ 41 w 50"/>
                  <a:gd name="T3" fmla="*/ 76 h 82"/>
                  <a:gd name="T4" fmla="*/ 48 w 50"/>
                  <a:gd name="T5" fmla="*/ 69 h 82"/>
                  <a:gd name="T6" fmla="*/ 50 w 50"/>
                  <a:gd name="T7" fmla="*/ 58 h 82"/>
                  <a:gd name="T8" fmla="*/ 45 w 50"/>
                  <a:gd name="T9" fmla="*/ 45 h 82"/>
                  <a:gd name="T10" fmla="*/ 32 w 50"/>
                  <a:gd name="T11" fmla="*/ 39 h 82"/>
                  <a:gd name="T12" fmla="*/ 32 w 50"/>
                  <a:gd name="T13" fmla="*/ 39 h 82"/>
                  <a:gd name="T14" fmla="*/ 44 w 50"/>
                  <a:gd name="T15" fmla="*/ 33 h 82"/>
                  <a:gd name="T16" fmla="*/ 48 w 50"/>
                  <a:gd name="T17" fmla="*/ 20 h 82"/>
                  <a:gd name="T18" fmla="*/ 46 w 50"/>
                  <a:gd name="T19" fmla="*/ 11 h 82"/>
                  <a:gd name="T20" fmla="*/ 40 w 50"/>
                  <a:gd name="T21" fmla="*/ 5 h 82"/>
                  <a:gd name="T22" fmla="*/ 32 w 50"/>
                  <a:gd name="T23" fmla="*/ 1 h 82"/>
                  <a:gd name="T24" fmla="*/ 23 w 50"/>
                  <a:gd name="T25" fmla="*/ 0 h 82"/>
                  <a:gd name="T26" fmla="*/ 13 w 50"/>
                  <a:gd name="T27" fmla="*/ 1 h 82"/>
                  <a:gd name="T28" fmla="*/ 3 w 50"/>
                  <a:gd name="T29" fmla="*/ 5 h 82"/>
                  <a:gd name="T30" fmla="*/ 3 w 50"/>
                  <a:gd name="T31" fmla="*/ 19 h 82"/>
                  <a:gd name="T32" fmla="*/ 19 w 50"/>
                  <a:gd name="T33" fmla="*/ 14 h 82"/>
                  <a:gd name="T34" fmla="*/ 27 w 50"/>
                  <a:gd name="T35" fmla="*/ 16 h 82"/>
                  <a:gd name="T36" fmla="*/ 30 w 50"/>
                  <a:gd name="T37" fmla="*/ 23 h 82"/>
                  <a:gd name="T38" fmla="*/ 28 w 50"/>
                  <a:gd name="T39" fmla="*/ 30 h 82"/>
                  <a:gd name="T40" fmla="*/ 22 w 50"/>
                  <a:gd name="T41" fmla="*/ 33 h 82"/>
                  <a:gd name="T42" fmla="*/ 15 w 50"/>
                  <a:gd name="T43" fmla="*/ 33 h 82"/>
                  <a:gd name="T44" fmla="*/ 8 w 50"/>
                  <a:gd name="T45" fmla="*/ 33 h 82"/>
                  <a:gd name="T46" fmla="*/ 8 w 50"/>
                  <a:gd name="T47" fmla="*/ 47 h 82"/>
                  <a:gd name="T48" fmla="*/ 15 w 50"/>
                  <a:gd name="T49" fmla="*/ 47 h 82"/>
                  <a:gd name="T50" fmla="*/ 23 w 50"/>
                  <a:gd name="T51" fmla="*/ 48 h 82"/>
                  <a:gd name="T52" fmla="*/ 30 w 50"/>
                  <a:gd name="T53" fmla="*/ 51 h 82"/>
                  <a:gd name="T54" fmla="*/ 33 w 50"/>
                  <a:gd name="T55" fmla="*/ 58 h 82"/>
                  <a:gd name="T56" fmla="*/ 28 w 50"/>
                  <a:gd name="T57" fmla="*/ 66 h 82"/>
                  <a:gd name="T58" fmla="*/ 19 w 50"/>
                  <a:gd name="T59" fmla="*/ 68 h 82"/>
                  <a:gd name="T60" fmla="*/ 9 w 50"/>
                  <a:gd name="T61" fmla="*/ 67 h 82"/>
                  <a:gd name="T62" fmla="*/ 0 w 50"/>
                  <a:gd name="T63" fmla="*/ 63 h 82"/>
                  <a:gd name="T64" fmla="*/ 0 w 50"/>
                  <a:gd name="T65" fmla="*/ 78 h 82"/>
                  <a:gd name="T66" fmla="*/ 10 w 50"/>
                  <a:gd name="T67" fmla="*/ 81 h 82"/>
                  <a:gd name="T68" fmla="*/ 20 w 50"/>
                  <a:gd name="T69" fmla="*/ 82 h 82"/>
                  <a:gd name="T70" fmla="*/ 31 w 50"/>
                  <a:gd name="T71" fmla="*/ 80 h 82"/>
                  <a:gd name="T72" fmla="*/ 41 w 50"/>
                  <a:gd name="T73"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41" y="76"/>
                    </a:moveTo>
                    <a:lnTo>
                      <a:pt x="41" y="76"/>
                    </a:lnTo>
                    <a:cubicBezTo>
                      <a:pt x="44" y="74"/>
                      <a:pt x="46" y="72"/>
                      <a:pt x="48" y="69"/>
                    </a:cubicBezTo>
                    <a:cubicBezTo>
                      <a:pt x="49" y="66"/>
                      <a:pt x="50" y="62"/>
                      <a:pt x="50" y="58"/>
                    </a:cubicBezTo>
                    <a:cubicBezTo>
                      <a:pt x="50" y="52"/>
                      <a:pt x="49" y="48"/>
                      <a:pt x="45" y="45"/>
                    </a:cubicBezTo>
                    <a:cubicBezTo>
                      <a:pt x="42" y="42"/>
                      <a:pt x="37" y="40"/>
                      <a:pt x="32" y="39"/>
                    </a:cubicBezTo>
                    <a:lnTo>
                      <a:pt x="32" y="39"/>
                    </a:lnTo>
                    <a:cubicBezTo>
                      <a:pt x="37" y="38"/>
                      <a:pt x="41" y="36"/>
                      <a:pt x="44" y="33"/>
                    </a:cubicBezTo>
                    <a:cubicBezTo>
                      <a:pt x="47" y="29"/>
                      <a:pt x="48" y="25"/>
                      <a:pt x="48" y="20"/>
                    </a:cubicBezTo>
                    <a:cubicBezTo>
                      <a:pt x="48" y="17"/>
                      <a:pt x="47" y="14"/>
                      <a:pt x="46" y="11"/>
                    </a:cubicBezTo>
                    <a:cubicBezTo>
                      <a:pt x="44" y="9"/>
                      <a:pt x="42" y="6"/>
                      <a:pt x="40" y="5"/>
                    </a:cubicBezTo>
                    <a:cubicBezTo>
                      <a:pt x="38" y="3"/>
                      <a:pt x="35" y="2"/>
                      <a:pt x="32" y="1"/>
                    </a:cubicBezTo>
                    <a:cubicBezTo>
                      <a:pt x="29" y="1"/>
                      <a:pt x="26" y="0"/>
                      <a:pt x="23" y="0"/>
                    </a:cubicBezTo>
                    <a:cubicBezTo>
                      <a:pt x="19" y="0"/>
                      <a:pt x="16" y="1"/>
                      <a:pt x="13" y="1"/>
                    </a:cubicBezTo>
                    <a:cubicBezTo>
                      <a:pt x="9" y="2"/>
                      <a:pt x="6" y="3"/>
                      <a:pt x="3" y="5"/>
                    </a:cubicBezTo>
                    <a:lnTo>
                      <a:pt x="3" y="19"/>
                    </a:lnTo>
                    <a:cubicBezTo>
                      <a:pt x="8" y="15"/>
                      <a:pt x="13" y="14"/>
                      <a:pt x="19" y="14"/>
                    </a:cubicBezTo>
                    <a:cubicBezTo>
                      <a:pt x="22" y="14"/>
                      <a:pt x="25" y="14"/>
                      <a:pt x="27" y="16"/>
                    </a:cubicBezTo>
                    <a:cubicBezTo>
                      <a:pt x="29" y="17"/>
                      <a:pt x="30" y="20"/>
                      <a:pt x="30" y="23"/>
                    </a:cubicBezTo>
                    <a:cubicBezTo>
                      <a:pt x="30" y="26"/>
                      <a:pt x="30" y="28"/>
                      <a:pt x="28" y="30"/>
                    </a:cubicBezTo>
                    <a:cubicBezTo>
                      <a:pt x="26" y="31"/>
                      <a:pt x="24" y="32"/>
                      <a:pt x="22" y="33"/>
                    </a:cubicBezTo>
                    <a:cubicBezTo>
                      <a:pt x="20" y="33"/>
                      <a:pt x="17" y="33"/>
                      <a:pt x="15" y="33"/>
                    </a:cubicBezTo>
                    <a:lnTo>
                      <a:pt x="8" y="33"/>
                    </a:lnTo>
                    <a:lnTo>
                      <a:pt x="8" y="47"/>
                    </a:lnTo>
                    <a:lnTo>
                      <a:pt x="15" y="47"/>
                    </a:lnTo>
                    <a:cubicBezTo>
                      <a:pt x="18" y="47"/>
                      <a:pt x="21" y="47"/>
                      <a:pt x="23" y="48"/>
                    </a:cubicBezTo>
                    <a:cubicBezTo>
                      <a:pt x="26" y="48"/>
                      <a:pt x="28" y="49"/>
                      <a:pt x="30" y="51"/>
                    </a:cubicBezTo>
                    <a:cubicBezTo>
                      <a:pt x="32" y="52"/>
                      <a:pt x="33" y="54"/>
                      <a:pt x="33" y="58"/>
                    </a:cubicBezTo>
                    <a:cubicBezTo>
                      <a:pt x="33" y="62"/>
                      <a:pt x="31" y="65"/>
                      <a:pt x="28" y="66"/>
                    </a:cubicBezTo>
                    <a:cubicBezTo>
                      <a:pt x="25" y="68"/>
                      <a:pt x="22" y="68"/>
                      <a:pt x="19" y="68"/>
                    </a:cubicBezTo>
                    <a:cubicBezTo>
                      <a:pt x="15" y="68"/>
                      <a:pt x="12" y="68"/>
                      <a:pt x="9" y="67"/>
                    </a:cubicBezTo>
                    <a:cubicBezTo>
                      <a:pt x="6" y="66"/>
                      <a:pt x="3" y="64"/>
                      <a:pt x="0" y="63"/>
                    </a:cubicBezTo>
                    <a:lnTo>
                      <a:pt x="0" y="78"/>
                    </a:lnTo>
                    <a:cubicBezTo>
                      <a:pt x="3" y="79"/>
                      <a:pt x="7" y="80"/>
                      <a:pt x="10" y="81"/>
                    </a:cubicBezTo>
                    <a:cubicBezTo>
                      <a:pt x="13" y="81"/>
                      <a:pt x="17" y="82"/>
                      <a:pt x="20" y="82"/>
                    </a:cubicBezTo>
                    <a:cubicBezTo>
                      <a:pt x="24" y="82"/>
                      <a:pt x="28" y="81"/>
                      <a:pt x="31" y="80"/>
                    </a:cubicBezTo>
                    <a:cubicBezTo>
                      <a:pt x="35" y="79"/>
                      <a:pt x="38" y="78"/>
                      <a:pt x="41" y="76"/>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3" name="Freeform 37">
                <a:extLst>
                  <a:ext uri="{FF2B5EF4-FFF2-40B4-BE49-F238E27FC236}">
                    <a16:creationId xmlns:a16="http://schemas.microsoft.com/office/drawing/2014/main" id="{02F37247-3916-42A3-9439-242C26D911B8}"/>
                  </a:ext>
                </a:extLst>
              </p:cNvPr>
              <p:cNvSpPr>
                <a:spLocks/>
              </p:cNvSpPr>
              <p:nvPr/>
            </p:nvSpPr>
            <p:spPr bwMode="auto">
              <a:xfrm>
                <a:off x="4144" y="905"/>
                <a:ext cx="32" cy="50"/>
              </a:xfrm>
              <a:custGeom>
                <a:avLst/>
                <a:gdLst>
                  <a:gd name="T0" fmla="*/ 21 w 52"/>
                  <a:gd name="T1" fmla="*/ 42 h 80"/>
                  <a:gd name="T2" fmla="*/ 21 w 52"/>
                  <a:gd name="T3" fmla="*/ 42 h 80"/>
                  <a:gd name="T4" fmla="*/ 11 w 52"/>
                  <a:gd name="T5" fmla="*/ 51 h 80"/>
                  <a:gd name="T6" fmla="*/ 2 w 52"/>
                  <a:gd name="T7" fmla="*/ 63 h 80"/>
                  <a:gd name="T8" fmla="*/ 0 w 52"/>
                  <a:gd name="T9" fmla="*/ 71 h 80"/>
                  <a:gd name="T10" fmla="*/ 0 w 52"/>
                  <a:gd name="T11" fmla="*/ 80 h 80"/>
                  <a:gd name="T12" fmla="*/ 52 w 52"/>
                  <a:gd name="T13" fmla="*/ 80 h 80"/>
                  <a:gd name="T14" fmla="*/ 52 w 52"/>
                  <a:gd name="T15" fmla="*/ 65 h 80"/>
                  <a:gd name="T16" fmla="*/ 19 w 52"/>
                  <a:gd name="T17" fmla="*/ 65 h 80"/>
                  <a:gd name="T18" fmla="*/ 21 w 52"/>
                  <a:gd name="T19" fmla="*/ 60 h 80"/>
                  <a:gd name="T20" fmla="*/ 28 w 52"/>
                  <a:gd name="T21" fmla="*/ 55 h 80"/>
                  <a:gd name="T22" fmla="*/ 36 w 52"/>
                  <a:gd name="T23" fmla="*/ 49 h 80"/>
                  <a:gd name="T24" fmla="*/ 44 w 52"/>
                  <a:gd name="T25" fmla="*/ 42 h 80"/>
                  <a:gd name="T26" fmla="*/ 50 w 52"/>
                  <a:gd name="T27" fmla="*/ 33 h 80"/>
                  <a:gd name="T28" fmla="*/ 52 w 52"/>
                  <a:gd name="T29" fmla="*/ 22 h 80"/>
                  <a:gd name="T30" fmla="*/ 50 w 52"/>
                  <a:gd name="T31" fmla="*/ 12 h 80"/>
                  <a:gd name="T32" fmla="*/ 45 w 52"/>
                  <a:gd name="T33" fmla="*/ 5 h 80"/>
                  <a:gd name="T34" fmla="*/ 37 w 52"/>
                  <a:gd name="T35" fmla="*/ 1 h 80"/>
                  <a:gd name="T36" fmla="*/ 27 w 52"/>
                  <a:gd name="T37" fmla="*/ 0 h 80"/>
                  <a:gd name="T38" fmla="*/ 4 w 52"/>
                  <a:gd name="T39" fmla="*/ 6 h 80"/>
                  <a:gd name="T40" fmla="*/ 4 w 52"/>
                  <a:gd name="T41" fmla="*/ 22 h 80"/>
                  <a:gd name="T42" fmla="*/ 13 w 52"/>
                  <a:gd name="T43" fmla="*/ 16 h 80"/>
                  <a:gd name="T44" fmla="*/ 23 w 52"/>
                  <a:gd name="T45" fmla="*/ 14 h 80"/>
                  <a:gd name="T46" fmla="*/ 31 w 52"/>
                  <a:gd name="T47" fmla="*/ 16 h 80"/>
                  <a:gd name="T48" fmla="*/ 35 w 52"/>
                  <a:gd name="T49" fmla="*/ 24 h 80"/>
                  <a:gd name="T50" fmla="*/ 31 w 52"/>
                  <a:gd name="T51" fmla="*/ 34 h 80"/>
                  <a:gd name="T52" fmla="*/ 21 w 52"/>
                  <a:gd name="T5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80">
                    <a:moveTo>
                      <a:pt x="21" y="42"/>
                    </a:moveTo>
                    <a:lnTo>
                      <a:pt x="21" y="42"/>
                    </a:lnTo>
                    <a:cubicBezTo>
                      <a:pt x="18" y="45"/>
                      <a:pt x="14" y="48"/>
                      <a:pt x="11" y="51"/>
                    </a:cubicBezTo>
                    <a:cubicBezTo>
                      <a:pt x="7" y="54"/>
                      <a:pt x="4" y="58"/>
                      <a:pt x="2" y="63"/>
                    </a:cubicBezTo>
                    <a:cubicBezTo>
                      <a:pt x="1" y="66"/>
                      <a:pt x="0" y="69"/>
                      <a:pt x="0" y="71"/>
                    </a:cubicBezTo>
                    <a:cubicBezTo>
                      <a:pt x="0" y="74"/>
                      <a:pt x="0" y="76"/>
                      <a:pt x="0" y="80"/>
                    </a:cubicBezTo>
                    <a:lnTo>
                      <a:pt x="52" y="80"/>
                    </a:lnTo>
                    <a:lnTo>
                      <a:pt x="52" y="65"/>
                    </a:lnTo>
                    <a:lnTo>
                      <a:pt x="19" y="65"/>
                    </a:lnTo>
                    <a:cubicBezTo>
                      <a:pt x="19" y="63"/>
                      <a:pt x="20" y="62"/>
                      <a:pt x="21" y="60"/>
                    </a:cubicBezTo>
                    <a:cubicBezTo>
                      <a:pt x="23" y="58"/>
                      <a:pt x="25" y="56"/>
                      <a:pt x="28" y="55"/>
                    </a:cubicBezTo>
                    <a:cubicBezTo>
                      <a:pt x="30" y="53"/>
                      <a:pt x="33" y="51"/>
                      <a:pt x="36" y="49"/>
                    </a:cubicBezTo>
                    <a:cubicBezTo>
                      <a:pt x="39" y="47"/>
                      <a:pt x="41" y="45"/>
                      <a:pt x="44" y="42"/>
                    </a:cubicBezTo>
                    <a:cubicBezTo>
                      <a:pt x="46" y="40"/>
                      <a:pt x="48" y="37"/>
                      <a:pt x="50" y="33"/>
                    </a:cubicBezTo>
                    <a:cubicBezTo>
                      <a:pt x="51" y="30"/>
                      <a:pt x="52" y="26"/>
                      <a:pt x="52" y="22"/>
                    </a:cubicBezTo>
                    <a:cubicBezTo>
                      <a:pt x="52" y="18"/>
                      <a:pt x="52" y="15"/>
                      <a:pt x="50" y="12"/>
                    </a:cubicBezTo>
                    <a:cubicBezTo>
                      <a:pt x="49" y="9"/>
                      <a:pt x="47" y="7"/>
                      <a:pt x="45" y="5"/>
                    </a:cubicBezTo>
                    <a:cubicBezTo>
                      <a:pt x="43" y="3"/>
                      <a:pt x="40" y="2"/>
                      <a:pt x="37" y="1"/>
                    </a:cubicBezTo>
                    <a:cubicBezTo>
                      <a:pt x="34" y="0"/>
                      <a:pt x="30" y="0"/>
                      <a:pt x="27" y="0"/>
                    </a:cubicBezTo>
                    <a:cubicBezTo>
                      <a:pt x="18" y="0"/>
                      <a:pt x="11" y="2"/>
                      <a:pt x="4" y="6"/>
                    </a:cubicBezTo>
                    <a:lnTo>
                      <a:pt x="4" y="22"/>
                    </a:lnTo>
                    <a:cubicBezTo>
                      <a:pt x="7" y="19"/>
                      <a:pt x="10" y="17"/>
                      <a:pt x="13" y="16"/>
                    </a:cubicBezTo>
                    <a:cubicBezTo>
                      <a:pt x="16" y="14"/>
                      <a:pt x="20" y="14"/>
                      <a:pt x="23" y="14"/>
                    </a:cubicBezTo>
                    <a:cubicBezTo>
                      <a:pt x="27" y="14"/>
                      <a:pt x="29" y="14"/>
                      <a:pt x="31" y="16"/>
                    </a:cubicBezTo>
                    <a:cubicBezTo>
                      <a:pt x="34" y="17"/>
                      <a:pt x="35" y="20"/>
                      <a:pt x="35" y="24"/>
                    </a:cubicBezTo>
                    <a:cubicBezTo>
                      <a:pt x="35" y="27"/>
                      <a:pt x="33" y="31"/>
                      <a:pt x="31" y="34"/>
                    </a:cubicBezTo>
                    <a:cubicBezTo>
                      <a:pt x="28" y="36"/>
                      <a:pt x="25" y="39"/>
                      <a:pt x="21" y="4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92" name="Group 91">
            <a:extLst>
              <a:ext uri="{FF2B5EF4-FFF2-40B4-BE49-F238E27FC236}">
                <a16:creationId xmlns:a16="http://schemas.microsoft.com/office/drawing/2014/main" id="{9CA1F54E-8BD0-4C78-9A24-20CCEAA2A0B7}"/>
              </a:ext>
              <a:ext uri="{C183D7F6-B498-43B3-948B-1728B52AA6E4}">
                <adec:decorative xmlns:adec="http://schemas.microsoft.com/office/drawing/2017/decorative" val="1"/>
              </a:ext>
            </a:extLst>
          </p:cNvPr>
          <p:cNvGrpSpPr/>
          <p:nvPr userDrawn="1"/>
        </p:nvGrpSpPr>
        <p:grpSpPr>
          <a:xfrm>
            <a:off x="4722312" y="1388671"/>
            <a:ext cx="457200" cy="457200"/>
            <a:chOff x="4722312" y="1664697"/>
            <a:chExt cx="570652" cy="570652"/>
          </a:xfrm>
        </p:grpSpPr>
        <p:sp>
          <p:nvSpPr>
            <p:cNvPr id="77" name="Oval 76">
              <a:extLst>
                <a:ext uri="{FF2B5EF4-FFF2-40B4-BE49-F238E27FC236}">
                  <a16:creationId xmlns:a16="http://schemas.microsoft.com/office/drawing/2014/main" id="{3C153727-8F4E-4088-A823-3B49DE1DDA52}"/>
                </a:ext>
              </a:extLst>
            </p:cNvPr>
            <p:cNvSpPr/>
            <p:nvPr userDrawn="1"/>
          </p:nvSpPr>
          <p:spPr bwMode="auto">
            <a:xfrm>
              <a:off x="4722312"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D4E0FC3B-EC45-4D50-9E6F-FE0DC9C5AE03}"/>
                </a:ext>
              </a:extLst>
            </p:cNvPr>
            <p:cNvGrpSpPr/>
            <p:nvPr userDrawn="1"/>
          </p:nvGrpSpPr>
          <p:grpSpPr>
            <a:xfrm>
              <a:off x="4808475" y="1750860"/>
              <a:ext cx="398327" cy="398327"/>
              <a:chOff x="9754236" y="1276544"/>
              <a:chExt cx="509074" cy="509074"/>
            </a:xfrm>
          </p:grpSpPr>
          <p:sp>
            <p:nvSpPr>
              <p:cNvPr id="87" name="Freeform 1105">
                <a:extLst>
                  <a:ext uri="{FF2B5EF4-FFF2-40B4-BE49-F238E27FC236}">
                    <a16:creationId xmlns:a16="http://schemas.microsoft.com/office/drawing/2014/main" id="{7B8539A8-398F-40C7-A49B-F978AC77FCD7}"/>
                  </a:ext>
                </a:extLst>
              </p:cNvPr>
              <p:cNvSpPr>
                <a:spLocks/>
              </p:cNvSpPr>
              <p:nvPr/>
            </p:nvSpPr>
            <p:spPr bwMode="auto">
              <a:xfrm>
                <a:off x="9754236" y="1421279"/>
                <a:ext cx="134756" cy="219600"/>
              </a:xfrm>
              <a:custGeom>
                <a:avLst/>
                <a:gdLst>
                  <a:gd name="T0" fmla="*/ 27 w 27"/>
                  <a:gd name="T1" fmla="*/ 4 h 44"/>
                  <a:gd name="T2" fmla="*/ 22 w 27"/>
                  <a:gd name="T3" fmla="*/ 0 h 44"/>
                  <a:gd name="T4" fmla="*/ 4 w 27"/>
                  <a:gd name="T5" fmla="*/ 18 h 44"/>
                  <a:gd name="T6" fmla="*/ 0 w 27"/>
                  <a:gd name="T7" fmla="*/ 22 h 44"/>
                  <a:gd name="T8" fmla="*/ 0 w 27"/>
                  <a:gd name="T9" fmla="*/ 22 h 44"/>
                  <a:gd name="T10" fmla="*/ 0 w 27"/>
                  <a:gd name="T11" fmla="*/ 22 h 44"/>
                  <a:gd name="T12" fmla="*/ 5 w 27"/>
                  <a:gd name="T13" fmla="*/ 27 h 44"/>
                  <a:gd name="T14" fmla="*/ 5 w 27"/>
                  <a:gd name="T15" fmla="*/ 27 h 44"/>
                  <a:gd name="T16" fmla="*/ 22 w 27"/>
                  <a:gd name="T17" fmla="*/ 44 h 44"/>
                  <a:gd name="T18" fmla="*/ 27 w 27"/>
                  <a:gd name="T19" fmla="*/ 40 h 44"/>
                  <a:gd name="T20" fmla="*/ 9 w 27"/>
                  <a:gd name="T21" fmla="*/ 22 h 44"/>
                  <a:gd name="T22" fmla="*/ 27 w 27"/>
                  <a:gd name="T2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4"/>
                    </a:moveTo>
                    <a:lnTo>
                      <a:pt x="22" y="0"/>
                    </a:lnTo>
                    <a:lnTo>
                      <a:pt x="4" y="18"/>
                    </a:lnTo>
                    <a:lnTo>
                      <a:pt x="0" y="22"/>
                    </a:lnTo>
                    <a:lnTo>
                      <a:pt x="0" y="22"/>
                    </a:lnTo>
                    <a:lnTo>
                      <a:pt x="0" y="22"/>
                    </a:lnTo>
                    <a:lnTo>
                      <a:pt x="5" y="27"/>
                    </a:lnTo>
                    <a:lnTo>
                      <a:pt x="5" y="27"/>
                    </a:lnTo>
                    <a:lnTo>
                      <a:pt x="22" y="44"/>
                    </a:lnTo>
                    <a:lnTo>
                      <a:pt x="27" y="40"/>
                    </a:lnTo>
                    <a:lnTo>
                      <a:pt x="9" y="22"/>
                    </a:lnTo>
                    <a:lnTo>
                      <a:pt x="27" y="4"/>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106">
                <a:extLst>
                  <a:ext uri="{FF2B5EF4-FFF2-40B4-BE49-F238E27FC236}">
                    <a16:creationId xmlns:a16="http://schemas.microsoft.com/office/drawing/2014/main" id="{E0E7C231-8F91-47DA-B8B2-6A6668547B0E}"/>
                  </a:ext>
                </a:extLst>
              </p:cNvPr>
              <p:cNvSpPr>
                <a:spLocks/>
              </p:cNvSpPr>
              <p:nvPr/>
            </p:nvSpPr>
            <p:spPr bwMode="auto">
              <a:xfrm>
                <a:off x="10128554" y="1421279"/>
                <a:ext cx="134756" cy="219600"/>
              </a:xfrm>
              <a:custGeom>
                <a:avLst/>
                <a:gdLst>
                  <a:gd name="T0" fmla="*/ 27 w 27"/>
                  <a:gd name="T1" fmla="*/ 22 h 44"/>
                  <a:gd name="T2" fmla="*/ 27 w 27"/>
                  <a:gd name="T3" fmla="*/ 22 h 44"/>
                  <a:gd name="T4" fmla="*/ 22 w 27"/>
                  <a:gd name="T5" fmla="*/ 17 h 44"/>
                  <a:gd name="T6" fmla="*/ 22 w 27"/>
                  <a:gd name="T7" fmla="*/ 17 h 44"/>
                  <a:gd name="T8" fmla="*/ 4 w 27"/>
                  <a:gd name="T9" fmla="*/ 0 h 44"/>
                  <a:gd name="T10" fmla="*/ 0 w 27"/>
                  <a:gd name="T11" fmla="*/ 4 h 44"/>
                  <a:gd name="T12" fmla="*/ 18 w 27"/>
                  <a:gd name="T13" fmla="*/ 22 h 44"/>
                  <a:gd name="T14" fmla="*/ 0 w 27"/>
                  <a:gd name="T15" fmla="*/ 40 h 44"/>
                  <a:gd name="T16" fmla="*/ 4 w 27"/>
                  <a:gd name="T17" fmla="*/ 44 h 44"/>
                  <a:gd name="T18" fmla="*/ 23 w 27"/>
                  <a:gd name="T19" fmla="*/ 26 h 44"/>
                  <a:gd name="T20" fmla="*/ 27 w 27"/>
                  <a:gd name="T21" fmla="*/ 22 h 44"/>
                  <a:gd name="T22" fmla="*/ 27 w 27"/>
                  <a:gd name="T2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22"/>
                    </a:moveTo>
                    <a:lnTo>
                      <a:pt x="27" y="22"/>
                    </a:lnTo>
                    <a:lnTo>
                      <a:pt x="22" y="17"/>
                    </a:lnTo>
                    <a:lnTo>
                      <a:pt x="22" y="17"/>
                    </a:lnTo>
                    <a:lnTo>
                      <a:pt x="4" y="0"/>
                    </a:lnTo>
                    <a:lnTo>
                      <a:pt x="0" y="4"/>
                    </a:lnTo>
                    <a:lnTo>
                      <a:pt x="18" y="22"/>
                    </a:lnTo>
                    <a:lnTo>
                      <a:pt x="0" y="40"/>
                    </a:lnTo>
                    <a:lnTo>
                      <a:pt x="4" y="44"/>
                    </a:lnTo>
                    <a:lnTo>
                      <a:pt x="23" y="26"/>
                    </a:lnTo>
                    <a:lnTo>
                      <a:pt x="27" y="22"/>
                    </a:lnTo>
                    <a:lnTo>
                      <a:pt x="27" y="22"/>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107">
                <a:extLst>
                  <a:ext uri="{FF2B5EF4-FFF2-40B4-BE49-F238E27FC236}">
                    <a16:creationId xmlns:a16="http://schemas.microsoft.com/office/drawing/2014/main" id="{F41426C5-7356-4728-9C68-76E8D1B5B9C0}"/>
                  </a:ext>
                </a:extLst>
              </p:cNvPr>
              <p:cNvSpPr>
                <a:spLocks/>
              </p:cNvSpPr>
              <p:nvPr/>
            </p:nvSpPr>
            <p:spPr bwMode="auto">
              <a:xfrm>
                <a:off x="9893983" y="1276544"/>
                <a:ext cx="224594" cy="134756"/>
              </a:xfrm>
              <a:custGeom>
                <a:avLst/>
                <a:gdLst>
                  <a:gd name="T0" fmla="*/ 23 w 45"/>
                  <a:gd name="T1" fmla="*/ 0 h 27"/>
                  <a:gd name="T2" fmla="*/ 18 w 45"/>
                  <a:gd name="T3" fmla="*/ 5 h 27"/>
                  <a:gd name="T4" fmla="*/ 18 w 45"/>
                  <a:gd name="T5" fmla="*/ 5 h 27"/>
                  <a:gd name="T6" fmla="*/ 0 w 45"/>
                  <a:gd name="T7" fmla="*/ 23 h 27"/>
                  <a:gd name="T8" fmla="*/ 5 w 45"/>
                  <a:gd name="T9" fmla="*/ 27 h 27"/>
                  <a:gd name="T10" fmla="*/ 23 w 45"/>
                  <a:gd name="T11" fmla="*/ 9 h 27"/>
                  <a:gd name="T12" fmla="*/ 40 w 45"/>
                  <a:gd name="T13" fmla="*/ 27 h 27"/>
                  <a:gd name="T14" fmla="*/ 45 w 45"/>
                  <a:gd name="T15" fmla="*/ 23 h 27"/>
                  <a:gd name="T16" fmla="*/ 27 w 45"/>
                  <a:gd name="T17" fmla="*/ 5 h 27"/>
                  <a:gd name="T18" fmla="*/ 23 w 4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23" y="0"/>
                    </a:moveTo>
                    <a:lnTo>
                      <a:pt x="18" y="5"/>
                    </a:lnTo>
                    <a:lnTo>
                      <a:pt x="18" y="5"/>
                    </a:lnTo>
                    <a:lnTo>
                      <a:pt x="0" y="23"/>
                    </a:lnTo>
                    <a:lnTo>
                      <a:pt x="5" y="27"/>
                    </a:lnTo>
                    <a:lnTo>
                      <a:pt x="23" y="9"/>
                    </a:lnTo>
                    <a:lnTo>
                      <a:pt x="40" y="27"/>
                    </a:lnTo>
                    <a:lnTo>
                      <a:pt x="45" y="23"/>
                    </a:lnTo>
                    <a:lnTo>
                      <a:pt x="27" y="5"/>
                    </a:lnTo>
                    <a:lnTo>
                      <a:pt x="23"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108">
                <a:extLst>
                  <a:ext uri="{FF2B5EF4-FFF2-40B4-BE49-F238E27FC236}">
                    <a16:creationId xmlns:a16="http://schemas.microsoft.com/office/drawing/2014/main" id="{81977E99-85B7-4F05-B8C6-203614394ECE}"/>
                  </a:ext>
                </a:extLst>
              </p:cNvPr>
              <p:cNvSpPr>
                <a:spLocks/>
              </p:cNvSpPr>
              <p:nvPr/>
            </p:nvSpPr>
            <p:spPr bwMode="auto">
              <a:xfrm>
                <a:off x="9893983" y="1650862"/>
                <a:ext cx="224594" cy="134756"/>
              </a:xfrm>
              <a:custGeom>
                <a:avLst/>
                <a:gdLst>
                  <a:gd name="T0" fmla="*/ 40 w 45"/>
                  <a:gd name="T1" fmla="*/ 0 h 27"/>
                  <a:gd name="T2" fmla="*/ 22 w 45"/>
                  <a:gd name="T3" fmla="*/ 18 h 27"/>
                  <a:gd name="T4" fmla="*/ 5 w 45"/>
                  <a:gd name="T5" fmla="*/ 0 h 27"/>
                  <a:gd name="T6" fmla="*/ 0 w 45"/>
                  <a:gd name="T7" fmla="*/ 5 h 27"/>
                  <a:gd name="T8" fmla="*/ 18 w 45"/>
                  <a:gd name="T9" fmla="*/ 22 h 27"/>
                  <a:gd name="T10" fmla="*/ 18 w 45"/>
                  <a:gd name="T11" fmla="*/ 22 h 27"/>
                  <a:gd name="T12" fmla="*/ 19 w 45"/>
                  <a:gd name="T13" fmla="*/ 23 h 27"/>
                  <a:gd name="T14" fmla="*/ 23 w 45"/>
                  <a:gd name="T15" fmla="*/ 27 h 27"/>
                  <a:gd name="T16" fmla="*/ 27 w 45"/>
                  <a:gd name="T17" fmla="*/ 22 h 27"/>
                  <a:gd name="T18" fmla="*/ 27 w 45"/>
                  <a:gd name="T19" fmla="*/ 22 h 27"/>
                  <a:gd name="T20" fmla="*/ 45 w 45"/>
                  <a:gd name="T21" fmla="*/ 5 h 27"/>
                  <a:gd name="T22" fmla="*/ 40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40" y="0"/>
                    </a:moveTo>
                    <a:lnTo>
                      <a:pt x="22" y="18"/>
                    </a:lnTo>
                    <a:lnTo>
                      <a:pt x="5" y="0"/>
                    </a:lnTo>
                    <a:lnTo>
                      <a:pt x="0" y="5"/>
                    </a:lnTo>
                    <a:lnTo>
                      <a:pt x="18" y="22"/>
                    </a:lnTo>
                    <a:lnTo>
                      <a:pt x="18" y="22"/>
                    </a:lnTo>
                    <a:lnTo>
                      <a:pt x="19" y="23"/>
                    </a:lnTo>
                    <a:lnTo>
                      <a:pt x="23" y="27"/>
                    </a:lnTo>
                    <a:lnTo>
                      <a:pt x="27" y="22"/>
                    </a:lnTo>
                    <a:lnTo>
                      <a:pt x="27" y="22"/>
                    </a:lnTo>
                    <a:lnTo>
                      <a:pt x="45" y="5"/>
                    </a:lnTo>
                    <a:lnTo>
                      <a:pt x="40"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1" name="Freeform 1109">
                <a:extLst>
                  <a:ext uri="{FF2B5EF4-FFF2-40B4-BE49-F238E27FC236}">
                    <a16:creationId xmlns:a16="http://schemas.microsoft.com/office/drawing/2014/main" id="{D53288B7-1539-4B4F-A266-F00CFB75B0E1}"/>
                  </a:ext>
                </a:extLst>
              </p:cNvPr>
              <p:cNvSpPr>
                <a:spLocks/>
              </p:cNvSpPr>
              <p:nvPr/>
            </p:nvSpPr>
            <p:spPr bwMode="auto">
              <a:xfrm>
                <a:off x="9943891" y="1466199"/>
                <a:ext cx="129764" cy="129764"/>
              </a:xfrm>
              <a:custGeom>
                <a:avLst/>
                <a:gdLst>
                  <a:gd name="T0" fmla="*/ 16 w 32"/>
                  <a:gd name="T1" fmla="*/ 32 h 32"/>
                  <a:gd name="T2" fmla="*/ 16 w 32"/>
                  <a:gd name="T3" fmla="*/ 32 h 32"/>
                  <a:gd name="T4" fmla="*/ 0 w 32"/>
                  <a:gd name="T5" fmla="*/ 16 h 32"/>
                  <a:gd name="T6" fmla="*/ 0 w 32"/>
                  <a:gd name="T7" fmla="*/ 16 h 32"/>
                  <a:gd name="T8" fmla="*/ 16 w 32"/>
                  <a:gd name="T9" fmla="*/ 0 h 32"/>
                  <a:gd name="T10" fmla="*/ 16 w 32"/>
                  <a:gd name="T11" fmla="*/ 0 h 32"/>
                  <a:gd name="T12" fmla="*/ 32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16" y="32"/>
                      <a:pt x="16" y="32"/>
                      <a:pt x="16" y="32"/>
                    </a:cubicBezTo>
                    <a:cubicBezTo>
                      <a:pt x="7" y="32"/>
                      <a:pt x="0" y="25"/>
                      <a:pt x="0" y="16"/>
                    </a:cubicBezTo>
                    <a:cubicBezTo>
                      <a:pt x="0" y="16"/>
                      <a:pt x="0" y="16"/>
                      <a:pt x="0" y="16"/>
                    </a:cubicBezTo>
                    <a:cubicBezTo>
                      <a:pt x="0" y="7"/>
                      <a:pt x="7" y="0"/>
                      <a:pt x="16" y="0"/>
                    </a:cubicBezTo>
                    <a:cubicBezTo>
                      <a:pt x="16" y="0"/>
                      <a:pt x="16" y="0"/>
                      <a:pt x="16" y="0"/>
                    </a:cubicBezTo>
                    <a:cubicBezTo>
                      <a:pt x="25" y="0"/>
                      <a:pt x="32" y="7"/>
                      <a:pt x="32" y="16"/>
                    </a:cubicBezTo>
                    <a:cubicBezTo>
                      <a:pt x="32" y="16"/>
                      <a:pt x="32" y="16"/>
                      <a:pt x="32" y="16"/>
                    </a:cubicBezTo>
                    <a:cubicBezTo>
                      <a:pt x="32" y="25"/>
                      <a:pt x="25" y="32"/>
                      <a:pt x="16" y="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90900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photo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5D724-00BB-4A16-8383-FE17CFB38BC7}"/>
              </a:ext>
              <a:ext uri="{C183D7F6-B498-43B3-948B-1728B52AA6E4}">
                <adec:decorative xmlns:adec="http://schemas.microsoft.com/office/drawing/2017/decorative" val="1"/>
              </a:ext>
            </a:extLst>
          </p:cNvPr>
          <p:cNvSpPr/>
          <p:nvPr userDrawn="1"/>
        </p:nvSpPr>
        <p:spPr bwMode="auto">
          <a:xfrm>
            <a:off x="-4" y="0"/>
            <a:ext cx="12188951" cy="1737360"/>
          </a:xfrm>
          <a:prstGeom prst="rect">
            <a:avLst/>
          </a:prstGeom>
          <a:solidFill>
            <a:schemeClr val="tx2"/>
          </a:solidFill>
        </p:spPr>
        <p:txBody>
          <a:bodyPr vert="horz" wrap="square" lIns="0" tIns="91440" rIns="146304" bIns="91440" rtlCol="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endParaRPr kumimoji="0" lang="en-US" sz="2353" b="0" i="0" u="none" strike="noStrike" kern="1200" cap="none" spc="-49" normalizeH="0" baseline="0" noProof="0">
              <a:ln>
                <a:noFill/>
              </a:ln>
              <a:solidFill>
                <a:srgbClr val="3C3C41"/>
              </a:solidFill>
              <a:effectLst/>
              <a:uLnTx/>
              <a:uFillTx/>
              <a:latin typeface="Segoe UI Semibold"/>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24" name="Text Placeholder 23">
            <a:extLst>
              <a:ext uri="{FF2B5EF4-FFF2-40B4-BE49-F238E27FC236}">
                <a16:creationId xmlns:a16="http://schemas.microsoft.com/office/drawing/2014/main" id="{2A7973E1-8162-43A8-9577-D24612186AF5}"/>
              </a:ext>
            </a:extLst>
          </p:cNvPr>
          <p:cNvSpPr>
            <a:spLocks noGrp="1"/>
          </p:cNvSpPr>
          <p:nvPr>
            <p:ph type="body" sz="quarter" idx="18" hasCustomPrompt="1"/>
          </p:nvPr>
        </p:nvSpPr>
        <p:spPr>
          <a:xfrm>
            <a:off x="1066390" y="1100935"/>
            <a:ext cx="7190198" cy="307777"/>
          </a:xfrm>
        </p:spPr>
        <p:txBody>
          <a:bodyPr/>
          <a:lstStyle>
            <a:lvl1pPr marL="0" indent="0">
              <a:buNone/>
              <a:defRPr sz="2000">
                <a:gradFill flip="none" rotWithShape="1">
                  <a:gsLst>
                    <a:gs pos="82000">
                      <a:schemeClr val="bg1"/>
                    </a:gs>
                    <a:gs pos="0">
                      <a:schemeClr val="bg1"/>
                    </a:gs>
                  </a:gsLst>
                  <a:lin ang="2700000" scaled="1"/>
                  <a:tileRect/>
                </a:gradFill>
                <a:latin typeface="+mj-lt"/>
              </a:defRPr>
            </a:lvl1pPr>
            <a:lvl2pPr marL="228600" indent="0">
              <a:buNone/>
              <a:defRPr/>
            </a:lvl2pPr>
          </a:lstStyle>
          <a:p>
            <a:pPr lvl="0"/>
            <a:r>
              <a:rPr lang="en-US"/>
              <a:t>Product name</a:t>
            </a:r>
          </a:p>
        </p:txBody>
      </p:sp>
      <p:pic>
        <p:nvPicPr>
          <p:cNvPr id="13" name="Picture 12">
            <a:extLst>
              <a:ext uri="{FF2B5EF4-FFF2-40B4-BE49-F238E27FC236}">
                <a16:creationId xmlns:a16="http://schemas.microsoft.com/office/drawing/2014/main" id="{DDF96E23-111B-413B-9DAF-12CB715B0FA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096" b="61026"/>
          <a:stretch/>
        </p:blipFill>
        <p:spPr>
          <a:xfrm>
            <a:off x="5730677" y="-517358"/>
            <a:ext cx="3989422" cy="2254718"/>
          </a:xfrm>
          <a:custGeom>
            <a:avLst/>
            <a:gdLst>
              <a:gd name="connsiteX0" fmla="*/ 0 w 3989422"/>
              <a:gd name="connsiteY0" fmla="*/ 0 h 3748765"/>
              <a:gd name="connsiteX1" fmla="*/ 2459581 w 3989422"/>
              <a:gd name="connsiteY1" fmla="*/ 0 h 3748765"/>
              <a:gd name="connsiteX2" fmla="*/ 2459581 w 3989422"/>
              <a:gd name="connsiteY2" fmla="*/ 1074842 h 3748765"/>
              <a:gd name="connsiteX3" fmla="*/ 3989422 w 3989422"/>
              <a:gd name="connsiteY3" fmla="*/ 1074842 h 3748765"/>
              <a:gd name="connsiteX4" fmla="*/ 3989422 w 3989422"/>
              <a:gd name="connsiteY4" fmla="*/ 3748765 h 3748765"/>
              <a:gd name="connsiteX5" fmla="*/ 0 w 3989422"/>
              <a:gd name="connsiteY5" fmla="*/ 3748765 h 374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9422" h="3748765">
                <a:moveTo>
                  <a:pt x="0" y="0"/>
                </a:moveTo>
                <a:lnTo>
                  <a:pt x="2459581" y="0"/>
                </a:lnTo>
                <a:lnTo>
                  <a:pt x="2459581" y="1074842"/>
                </a:lnTo>
                <a:lnTo>
                  <a:pt x="3989422" y="1074842"/>
                </a:lnTo>
                <a:lnTo>
                  <a:pt x="3989422" y="3748765"/>
                </a:lnTo>
                <a:lnTo>
                  <a:pt x="0" y="3748765"/>
                </a:lnTo>
                <a:close/>
              </a:path>
            </a:pathLst>
          </a:custGeom>
        </p:spPr>
      </p:pic>
      <p:sp>
        <p:nvSpPr>
          <p:cNvPr id="20" name="Picture Placeholder 19">
            <a:extLst>
              <a:ext uri="{FF2B5EF4-FFF2-40B4-BE49-F238E27FC236}">
                <a16:creationId xmlns:a16="http://schemas.microsoft.com/office/drawing/2014/main" id="{E70456A6-D52A-4576-89E3-C4F6CC790512}"/>
              </a:ext>
              <a:ext uri="{C183D7F6-B498-43B3-948B-1728B52AA6E4}">
                <adec:decorative xmlns:adec="http://schemas.microsoft.com/office/drawing/2017/decorative" val="1"/>
              </a:ext>
            </a:extLst>
          </p:cNvPr>
          <p:cNvSpPr>
            <a:spLocks noGrp="1"/>
          </p:cNvSpPr>
          <p:nvPr>
            <p:ph type="pic" sz="quarter" idx="17" hasCustomPrompt="1"/>
          </p:nvPr>
        </p:nvSpPr>
        <p:spPr bwMode="ltGray">
          <a:xfrm>
            <a:off x="8256721" y="-1332"/>
            <a:ext cx="3935280" cy="1737360"/>
          </a:xfrm>
          <a:custGeom>
            <a:avLst/>
            <a:gdLst>
              <a:gd name="connsiteX0" fmla="*/ 663093 w 3935280"/>
              <a:gd name="connsiteY0" fmla="*/ 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1415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0 h 1601532"/>
              <a:gd name="connsiteX1" fmla="*/ 3935280 w 3935280"/>
              <a:gd name="connsiteY1" fmla="*/ 4511 h 1601532"/>
              <a:gd name="connsiteX2" fmla="*/ 3935280 w 3935280"/>
              <a:gd name="connsiteY2" fmla="*/ 1601532 h 1601532"/>
              <a:gd name="connsiteX3" fmla="*/ 0 w 3935280"/>
              <a:gd name="connsiteY3" fmla="*/ 1601532 h 1601532"/>
              <a:gd name="connsiteX4" fmla="*/ 695249 w 3935280"/>
              <a:gd name="connsiteY4" fmla="*/ 0 h 160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5280" h="1601532">
                <a:moveTo>
                  <a:pt x="695249" y="0"/>
                </a:moveTo>
                <a:lnTo>
                  <a:pt x="3935280" y="4511"/>
                </a:lnTo>
                <a:lnTo>
                  <a:pt x="3935280" y="1601532"/>
                </a:lnTo>
                <a:lnTo>
                  <a:pt x="0" y="1601532"/>
                </a:lnTo>
                <a:lnTo>
                  <a:pt x="695249" y="0"/>
                </a:lnTo>
                <a:close/>
              </a:path>
            </a:pathLst>
          </a:custGeom>
          <a:blipFill>
            <a:blip r:embed="rId3"/>
            <a:stretch>
              <a:fillRect/>
            </a:stretch>
          </a:blipFill>
          <a:effectLst/>
        </p:spPr>
        <p:txBody>
          <a:bodyPr wrap="square" lIns="0" tIns="914400" rIns="0" anchor="t" anchorCtr="0">
            <a:noAutofit/>
          </a:bodyPr>
          <a:lstStyle>
            <a:lvl1pPr marL="0" indent="0" algn="ctr">
              <a:lnSpc>
                <a:spcPct val="100000"/>
              </a:lnSpc>
              <a:buNone/>
              <a:defRPr sz="11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6" name="Picture Placeholder 25">
            <a:extLst>
              <a:ext uri="{FF2B5EF4-FFF2-40B4-BE49-F238E27FC236}">
                <a16:creationId xmlns:a16="http://schemas.microsoft.com/office/drawing/2014/main" id="{F362847E-F575-43D5-8703-BC76DBFC722F}"/>
              </a:ext>
              <a:ext uri="{C183D7F6-B498-43B3-948B-1728B52AA6E4}">
                <adec:decorative xmlns:adec="http://schemas.microsoft.com/office/drawing/2017/decorative" val="1"/>
              </a:ext>
            </a:extLst>
          </p:cNvPr>
          <p:cNvSpPr>
            <a:spLocks noGrp="1"/>
          </p:cNvSpPr>
          <p:nvPr>
            <p:ph type="pic" sz="quarter" idx="19" hasCustomPrompt="1"/>
          </p:nvPr>
        </p:nvSpPr>
        <p:spPr>
          <a:xfrm>
            <a:off x="588263" y="1067371"/>
            <a:ext cx="374904" cy="374904"/>
          </a:xfrm>
          <a:solidFill>
            <a:schemeClr val="accent1"/>
          </a:solidFill>
        </p:spPr>
        <p:txBody>
          <a:bodyPr wrap="none">
            <a:noAutofit/>
          </a:bodyPr>
          <a:lstStyle>
            <a:lvl1pPr marL="0" indent="0" algn="ctr">
              <a:buNone/>
              <a:defRPr sz="700">
                <a:solidFill>
                  <a:schemeClr val="bg1"/>
                </a:solidFill>
              </a:defRPr>
            </a:lvl1pPr>
          </a:lstStyle>
          <a:p>
            <a:r>
              <a:rPr lang="en-US"/>
              <a:t>Product</a:t>
            </a:r>
            <a:br>
              <a:rPr lang="en-US"/>
            </a:br>
            <a:r>
              <a:rPr lang="en-US"/>
              <a:t>graphic</a:t>
            </a:r>
          </a:p>
        </p:txBody>
      </p:sp>
    </p:spTree>
    <p:extLst>
      <p:ext uri="{BB962C8B-B14F-4D97-AF65-F5344CB8AC3E}">
        <p14:creationId xmlns:p14="http://schemas.microsoft.com/office/powerpoint/2010/main" val="3186905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8848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375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5462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3197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885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887083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706970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724245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871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23670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77141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0308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8252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05914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43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67874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7651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4285021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319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49062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3190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864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87092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5330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38297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7393874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122223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981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608327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858261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135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2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46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5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90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2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5428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264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130938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5085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0078D4"/>
                  </a:gs>
                  <a:gs pos="0">
                    <a:srgbClr val="0078D4"/>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063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105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9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6580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26378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8403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01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38079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38477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28674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8364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501363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7674572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6069890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756754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804556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954310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836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66422574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801423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468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9167520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1416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31988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779431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58252" y="0"/>
            <a:ext cx="543374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1636776" y="3081528"/>
            <a:ext cx="4943133"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471543"/>
            <a:ext cx="5773848" cy="813819"/>
          </a:xfrm>
        </p:spPr>
        <p:txBody>
          <a:bodyPr tIns="0"/>
          <a:lstStyle>
            <a:lvl1pPr>
              <a:defRPr sz="2800"/>
            </a:lvl1pPr>
          </a:lstStyle>
          <a:p>
            <a:r>
              <a:rPr lang="en-US"/>
              <a:t>Click to edit Master title style</a:t>
            </a:r>
          </a:p>
        </p:txBody>
      </p:sp>
    </p:spTree>
    <p:extLst>
      <p:ext uri="{BB962C8B-B14F-4D97-AF65-F5344CB8AC3E}">
        <p14:creationId xmlns:p14="http://schemas.microsoft.com/office/powerpoint/2010/main" val="5037504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653853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83241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0616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546738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410624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4364746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4419817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24924384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1202327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02993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2829558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3225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2790961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700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474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A784C180-C389-40C2-86F5-37E6FC36C56B}" type="datetimeFigureOut">
              <a:rPr lang="en-US" smtClean="0"/>
              <a:t>9/30/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EECF8F1F-BE52-414A-890D-98367A02D4BD}" type="slidenum">
              <a:rPr lang="en-US" smtClean="0"/>
              <a:t>‹#›</a:t>
            </a:fld>
            <a:endParaRPr lang="en-US"/>
          </a:p>
        </p:txBody>
      </p:sp>
    </p:spTree>
    <p:extLst>
      <p:ext uri="{BB962C8B-B14F-4D97-AF65-F5344CB8AC3E}">
        <p14:creationId xmlns:p14="http://schemas.microsoft.com/office/powerpoint/2010/main" val="391017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8684607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089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A675C32F-0198-4102-A8B1-0D79CB8A583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ED882614-5339-4208-9A0C-AF2E501CE375}"/>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C382153-1362-4442-8F86-C1F7251AD5A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154560222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6EE9821-22DD-4ADB-8B7F-B785AE9864C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6CEAEFBD-5A48-4EF4-8175-26E2020179A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3F3A307-7426-4563-9CA8-E7885F5C4F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111550344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846DF2-9D26-41A1-9445-FC25853E7590}"/>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82B880B5-5C73-49E7-851D-F3529FC5ADFA}"/>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D8191C7-7785-4DB3-95C5-65C43816F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232990463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151256558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590552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4096427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C395E-5A94-4155-B32B-0EBA9CA80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EA0AA6-57D6-4280-83AA-3D39D86121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D2A52-A897-41A6-9C5C-4EA640451A11}"/>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5" name="Footer Placeholder 4">
            <a:extLst>
              <a:ext uri="{FF2B5EF4-FFF2-40B4-BE49-F238E27FC236}">
                <a16:creationId xmlns:a16="http://schemas.microsoft.com/office/drawing/2014/main" id="{4BAA435B-61D3-4799-B6F1-C70AE013F2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FFA74-9482-401B-AD44-DCD7FD84E8AE}"/>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4252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393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155844154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28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502646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800926"/>
            <a:ext cx="11306469" cy="387798"/>
          </a:xfrm>
        </p:spPr>
        <p:txBody>
          <a:bodyPr wrap="square" lIns="0" tIns="0" rIns="0" bIns="0">
            <a:spAutoFit/>
          </a:bodyPr>
          <a:lstStyle>
            <a:lvl1pPr>
              <a:lnSpc>
                <a:spcPct val="90000"/>
              </a:lnSpc>
              <a:defRPr sz="2800"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D7539E7D-0EA5-490F-8087-986D4FD50CE6}"/>
              </a:ext>
            </a:extLst>
          </p:cNvPr>
          <p:cNvSpPr>
            <a:spLocks noGrp="1"/>
          </p:cNvSpPr>
          <p:nvPr>
            <p:ph type="body" sz="quarter" idx="10"/>
          </p:nvPr>
        </p:nvSpPr>
        <p:spPr>
          <a:xfrm>
            <a:off x="457200" y="496888"/>
            <a:ext cx="7129463" cy="215444"/>
          </a:xfrm>
        </p:spPr>
        <p:txBody>
          <a:bodyPr tIns="0" bIns="0"/>
          <a:lstStyle>
            <a:lvl1pPr>
              <a:defRPr sz="1400">
                <a:latin typeface="+mn-lt"/>
              </a:defRPr>
            </a:lvl1pPr>
          </a:lstStyle>
          <a:p>
            <a:pPr lvl="0"/>
            <a:r>
              <a:rPr lang="en-US"/>
              <a:t>Click to edit Master text styles</a:t>
            </a:r>
          </a:p>
        </p:txBody>
      </p:sp>
    </p:spTree>
    <p:extLst>
      <p:ext uri="{BB962C8B-B14F-4D97-AF65-F5344CB8AC3E}">
        <p14:creationId xmlns:p14="http://schemas.microsoft.com/office/powerpoint/2010/main" val="217646893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4493843"/>
          </a:xfrm>
          <a:noFill/>
        </p:spPr>
        <p:txBody>
          <a:bodyPr vert="horz" wrap="square" lIns="0" tIns="0" rIns="0" bIns="0" rtlCol="0" anchor="ctr"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15148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9975463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199" y="1444752"/>
            <a:ext cx="5858759"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20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F9592142-13A7-4BE0-8E04-7110CCB6B2B0}"/>
              </a:ext>
            </a:extLst>
          </p:cNvPr>
          <p:cNvSpPr>
            <a:spLocks noGrp="1"/>
          </p:cNvSpPr>
          <p:nvPr>
            <p:ph type="body" sz="quarter" idx="14"/>
          </p:nvPr>
        </p:nvSpPr>
        <p:spPr>
          <a:xfrm>
            <a:off x="4279155" y="5303838"/>
            <a:ext cx="3266977"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1" name="Text Placeholder 6">
            <a:extLst>
              <a:ext uri="{FF2B5EF4-FFF2-40B4-BE49-F238E27FC236}">
                <a16:creationId xmlns:a16="http://schemas.microsoft.com/office/drawing/2014/main" id="{61A8C547-109B-4CF2-B985-9B7062E0E976}"/>
              </a:ext>
            </a:extLst>
          </p:cNvPr>
          <p:cNvSpPr>
            <a:spLocks noGrp="1"/>
          </p:cNvSpPr>
          <p:nvPr>
            <p:ph type="body" sz="quarter" idx="16"/>
          </p:nvPr>
        </p:nvSpPr>
        <p:spPr>
          <a:xfrm>
            <a:off x="810368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262206005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325880"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367528"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328880194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96345236-4116-4003-BB61-80F1D411174E}"/>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B3DE7B8A-35C5-4845-B08A-FC5B5B4E7BBD}"/>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BC13F8F-8B04-4C4A-839E-29648AF62C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132517487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2" name="Group 11">
            <a:extLst>
              <a:ext uri="{FF2B5EF4-FFF2-40B4-BE49-F238E27FC236}">
                <a16:creationId xmlns:a16="http://schemas.microsoft.com/office/drawing/2014/main" id="{53344552-BB7B-40DF-80A1-AC4A55E64FC3}"/>
              </a:ext>
            </a:extLst>
          </p:cNvPr>
          <p:cNvGrpSpPr/>
          <p:nvPr userDrawn="1"/>
        </p:nvGrpSpPr>
        <p:grpSpPr>
          <a:xfrm>
            <a:off x="475115" y="491398"/>
            <a:ext cx="583313" cy="583943"/>
            <a:chOff x="437407" y="353055"/>
            <a:chExt cx="583313" cy="583943"/>
          </a:xfrm>
        </p:grpSpPr>
        <p:sp>
          <p:nvSpPr>
            <p:cNvPr id="13" name="Oval 12">
              <a:extLst>
                <a:ext uri="{FF2B5EF4-FFF2-40B4-BE49-F238E27FC236}">
                  <a16:creationId xmlns:a16="http://schemas.microsoft.com/office/drawing/2014/main" id="{6842116A-B193-44C5-8376-C75526814AFF}"/>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1">
              <a:extLst>
                <a:ext uri="{FF2B5EF4-FFF2-40B4-BE49-F238E27FC236}">
                  <a16:creationId xmlns:a16="http://schemas.microsoft.com/office/drawing/2014/main" id="{86EB7323-F21F-4FD3-A576-C18D9EC204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382853901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BDBF2F25-846D-4945-8931-D35BC0C392B3}"/>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ADF83923-451A-47C6-93F9-80C4F3994248}"/>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BB53FF7-D761-4E9D-9590-30692484A17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36480876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9977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6" name="Group 15">
            <a:extLst>
              <a:ext uri="{FF2B5EF4-FFF2-40B4-BE49-F238E27FC236}">
                <a16:creationId xmlns:a16="http://schemas.microsoft.com/office/drawing/2014/main" id="{24142897-B591-413A-847A-33C6D39D2B56}"/>
              </a:ext>
            </a:extLst>
          </p:cNvPr>
          <p:cNvGrpSpPr/>
          <p:nvPr userDrawn="1"/>
        </p:nvGrpSpPr>
        <p:grpSpPr>
          <a:xfrm>
            <a:off x="475115" y="491398"/>
            <a:ext cx="583313" cy="583943"/>
            <a:chOff x="437407" y="353055"/>
            <a:chExt cx="583313" cy="583943"/>
          </a:xfrm>
        </p:grpSpPr>
        <p:sp>
          <p:nvSpPr>
            <p:cNvPr id="17" name="Oval 16">
              <a:extLst>
                <a:ext uri="{FF2B5EF4-FFF2-40B4-BE49-F238E27FC236}">
                  <a16:creationId xmlns:a16="http://schemas.microsoft.com/office/drawing/2014/main" id="{E3DD4CE1-19B5-4CD7-BC1B-DA916FB429E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1">
              <a:extLst>
                <a:ext uri="{FF2B5EF4-FFF2-40B4-BE49-F238E27FC236}">
                  <a16:creationId xmlns:a16="http://schemas.microsoft.com/office/drawing/2014/main" id="{50DCAB61-4A01-4FE6-93A2-CC64D07182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2059737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0" name="Group 9">
            <a:extLst>
              <a:ext uri="{FF2B5EF4-FFF2-40B4-BE49-F238E27FC236}">
                <a16:creationId xmlns:a16="http://schemas.microsoft.com/office/drawing/2014/main" id="{310EA104-0437-4CA6-AF1A-289651E07BC3}"/>
              </a:ext>
            </a:extLst>
          </p:cNvPr>
          <p:cNvGrpSpPr/>
          <p:nvPr userDrawn="1"/>
        </p:nvGrpSpPr>
        <p:grpSpPr>
          <a:xfrm>
            <a:off x="475115" y="491398"/>
            <a:ext cx="583313" cy="583943"/>
            <a:chOff x="437407" y="353055"/>
            <a:chExt cx="583313" cy="583943"/>
          </a:xfrm>
        </p:grpSpPr>
        <p:sp>
          <p:nvSpPr>
            <p:cNvPr id="11" name="Oval 10">
              <a:extLst>
                <a:ext uri="{FF2B5EF4-FFF2-40B4-BE49-F238E27FC236}">
                  <a16:creationId xmlns:a16="http://schemas.microsoft.com/office/drawing/2014/main" id="{F3F248F5-ECD3-4A68-8BDD-2AE5E9B3C636}"/>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3C62F6AA-C01F-4D8D-B68B-2C20C78AA9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418243342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3" name="Group 12">
            <a:extLst>
              <a:ext uri="{FF2B5EF4-FFF2-40B4-BE49-F238E27FC236}">
                <a16:creationId xmlns:a16="http://schemas.microsoft.com/office/drawing/2014/main" id="{0919E9A0-7FBB-4BB3-843E-926B3468A791}"/>
              </a:ext>
            </a:extLst>
          </p:cNvPr>
          <p:cNvGrpSpPr/>
          <p:nvPr userDrawn="1"/>
        </p:nvGrpSpPr>
        <p:grpSpPr>
          <a:xfrm>
            <a:off x="475488" y="493776"/>
            <a:ext cx="583313" cy="583943"/>
            <a:chOff x="437407" y="353055"/>
            <a:chExt cx="583313" cy="583943"/>
          </a:xfrm>
        </p:grpSpPr>
        <p:sp>
          <p:nvSpPr>
            <p:cNvPr id="14" name="Oval 13">
              <a:extLst>
                <a:ext uri="{FF2B5EF4-FFF2-40B4-BE49-F238E27FC236}">
                  <a16:creationId xmlns:a16="http://schemas.microsoft.com/office/drawing/2014/main" id="{EE5E45D3-0BB9-4DE7-A791-73F0F2D1C869}"/>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3603175F-13C3-4AE8-B026-56C7E042985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91084575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14231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73122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659739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086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80200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135391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9786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503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268143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3039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49670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079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375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645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22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477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209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807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818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4721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72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365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5381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4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94866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770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212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3480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1420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722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9589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5974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10019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6448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31211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594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86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49323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056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9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027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03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32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759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1893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7749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811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15137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39858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8622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8258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64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52414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014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26793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979286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22370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5100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1128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66123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881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954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478834"/>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644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19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36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79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21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036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92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469965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675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46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32495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398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3851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1600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1065190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313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11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06D9-A4CC-4240-B460-AF1BCA6009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B40305-F607-4181-AFE5-DE1647C15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C16D2-798B-498F-B56E-4D100F4C1551}"/>
              </a:ext>
            </a:extLst>
          </p:cNvPr>
          <p:cNvSpPr>
            <a:spLocks noGrp="1"/>
          </p:cNvSpPr>
          <p:nvPr>
            <p:ph type="dt" sz="half" idx="10"/>
          </p:nvPr>
        </p:nvSpPr>
        <p:spPr/>
        <p:txBody>
          <a:bodyPr/>
          <a:lstStyle/>
          <a:p>
            <a:fld id="{E3DF3104-61F8-4C21-9194-6E95803EC17D}" type="datetimeFigureOut">
              <a:rPr lang="en-US" smtClean="0"/>
              <a:t>9/30/2023</a:t>
            </a:fld>
            <a:endParaRPr lang="en-US"/>
          </a:p>
        </p:txBody>
      </p:sp>
      <p:sp>
        <p:nvSpPr>
          <p:cNvPr id="5" name="Footer Placeholder 4">
            <a:extLst>
              <a:ext uri="{FF2B5EF4-FFF2-40B4-BE49-F238E27FC236}">
                <a16:creationId xmlns:a16="http://schemas.microsoft.com/office/drawing/2014/main" id="{CDCCE54D-4A46-4E00-82EB-7615AFF01B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60DDD-1594-4445-8604-EA04EB3003CB}"/>
              </a:ext>
            </a:extLst>
          </p:cNvPr>
          <p:cNvSpPr>
            <a:spLocks noGrp="1"/>
          </p:cNvSpPr>
          <p:nvPr>
            <p:ph type="sldNum" sz="quarter" idx="12"/>
          </p:nvPr>
        </p:nvSpPr>
        <p:spPr/>
        <p:txBody>
          <a:bodyPr/>
          <a:lstStyle/>
          <a:p>
            <a:fld id="{FB80EE93-E0F1-46EB-9D1B-ADB8693C1F6B}" type="slidenum">
              <a:rPr lang="en-US" smtClean="0"/>
              <a:t>‹#›</a:t>
            </a:fld>
            <a:endParaRPr lang="en-US"/>
          </a:p>
        </p:txBody>
      </p:sp>
    </p:spTree>
    <p:extLst>
      <p:ext uri="{BB962C8B-B14F-4D97-AF65-F5344CB8AC3E}">
        <p14:creationId xmlns:p14="http://schemas.microsoft.com/office/powerpoint/2010/main" val="3404944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4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4DB9A-130F-4040-A77F-3F43BC0D96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D86990-43EB-4162-832A-6FCB414FDA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AF88CB-07B9-4BC9-BE48-FCDD10E9A5A0}"/>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5" name="Footer Placeholder 4">
            <a:extLst>
              <a:ext uri="{FF2B5EF4-FFF2-40B4-BE49-F238E27FC236}">
                <a16:creationId xmlns:a16="http://schemas.microsoft.com/office/drawing/2014/main" id="{EB9562CC-6792-421D-937F-9E3D0389A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868D8-465F-4C85-B439-88B449F93B9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322249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780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15748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65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4805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90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7548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623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29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071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6753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74F71-0CD9-4CF8-8BA3-EE8AA2C75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F9370-0716-4A8C-823A-C1AE5BE85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3268EE-853A-443B-8547-B08A67254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8B14D1-636C-4941-832E-5513EF43ACF3}"/>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6" name="Footer Placeholder 5">
            <a:extLst>
              <a:ext uri="{FF2B5EF4-FFF2-40B4-BE49-F238E27FC236}">
                <a16:creationId xmlns:a16="http://schemas.microsoft.com/office/drawing/2014/main" id="{376AEE1C-0458-4FC6-8654-F3F7151E67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A8629A-9041-4D67-A92C-F7BCEC4C97C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4114647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58937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424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901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9413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09956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117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96136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655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053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90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BC21-EC9E-4916-AB13-522C30A87C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E7F940-4F87-42E2-9C2B-3A8303911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D2E735-0A52-44E6-BD85-756E11776D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44ABD-049A-47C7-8D3A-C38D57A07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F1F16D-9C24-4060-BCB2-696FE7000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87D185-D631-4877-9A97-6330CB0732E1}"/>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8" name="Footer Placeholder 7">
            <a:extLst>
              <a:ext uri="{FF2B5EF4-FFF2-40B4-BE49-F238E27FC236}">
                <a16:creationId xmlns:a16="http://schemas.microsoft.com/office/drawing/2014/main" id="{6DDFA8D5-9E5B-44E8-91E5-6D613A7738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258C95-E41F-4684-A3B8-ADDCD318BE0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409744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5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18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63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49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222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8978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8316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199832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84732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9304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67465-5DEF-429C-B552-FF81FF818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F5D760-C68C-4468-86C3-E2E94633A053}"/>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4" name="Footer Placeholder 3">
            <a:extLst>
              <a:ext uri="{FF2B5EF4-FFF2-40B4-BE49-F238E27FC236}">
                <a16:creationId xmlns:a16="http://schemas.microsoft.com/office/drawing/2014/main" id="{34C0FBE7-DC84-40BE-B018-354DFE4A5C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E43877-86B0-4211-9D74-C2D2CFA80120}"/>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712221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skyscraper in a city">
            <a:extLst>
              <a:ext uri="{FF2B5EF4-FFF2-40B4-BE49-F238E27FC236}">
                <a16:creationId xmlns:a16="http://schemas.microsoft.com/office/drawing/2014/main"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16631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563721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548190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05546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2002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01218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064408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0193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6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76577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484382-D439-4204-9488-7EEF1B2B9613}"/>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3" name="Footer Placeholder 2">
            <a:extLst>
              <a:ext uri="{FF2B5EF4-FFF2-40B4-BE49-F238E27FC236}">
                <a16:creationId xmlns:a16="http://schemas.microsoft.com/office/drawing/2014/main" id="{D5367B3E-85BE-4C7B-B96A-ADAEE230EA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E606A6-B8A8-425B-B08D-4749CA658289}"/>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84542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8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72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31B2A464-78A4-426D-995E-EDCDAEF0BF3E}"/>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Media Placeholder 5">
            <a:extLst>
              <a:ext uri="{FF2B5EF4-FFF2-40B4-BE49-F238E27FC236}">
                <a16:creationId xmlns:a16="http://schemas.microsoft.com/office/drawing/2014/main" id="{5FC9C8BE-AF59-4174-BACA-9C8856C42FB9}"/>
              </a:ext>
            </a:extLst>
          </p:cNvPr>
          <p:cNvSpPr>
            <a:spLocks noGrp="1" noChangeAspect="1"/>
          </p:cNvSpPr>
          <p:nvPr>
            <p:ph type="media" sz="quarter" idx="10"/>
          </p:nvPr>
        </p:nvSpPr>
        <p:spPr>
          <a:xfrm>
            <a:off x="58826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6" name="Media Placeholder 5">
            <a:extLst>
              <a:ext uri="{FF2B5EF4-FFF2-40B4-BE49-F238E27FC236}">
                <a16:creationId xmlns:a16="http://schemas.microsoft.com/office/drawing/2014/main" id="{BBCCD635-7841-42F0-9FA3-77A64459DF06}"/>
              </a:ext>
            </a:extLst>
          </p:cNvPr>
          <p:cNvSpPr>
            <a:spLocks noGrp="1" noChangeAspect="1"/>
          </p:cNvSpPr>
          <p:nvPr>
            <p:ph type="media" sz="quarter" idx="11"/>
          </p:nvPr>
        </p:nvSpPr>
        <p:spPr>
          <a:xfrm>
            <a:off x="429158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5275691A-B0A5-44B8-AAFD-2EB944963C4B}"/>
              </a:ext>
            </a:extLst>
          </p:cNvPr>
          <p:cNvSpPr>
            <a:spLocks noGrp="1" noChangeAspect="1"/>
          </p:cNvSpPr>
          <p:nvPr>
            <p:ph type="media" sz="quarter" idx="12"/>
          </p:nvPr>
        </p:nvSpPr>
        <p:spPr>
          <a:xfrm>
            <a:off x="799490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Oval 7">
            <a:extLst>
              <a:ext uri="{FF2B5EF4-FFF2-40B4-BE49-F238E27FC236}">
                <a16:creationId xmlns:a16="http://schemas.microsoft.com/office/drawing/2014/main" id="{E5E80473-DF34-4858-886A-E465988A0AAE}"/>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B6256CAC-79C1-479C-B533-02D9FD9A42E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CEBC842-BF05-420C-91D5-9828742750B1}"/>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0E75E4AD-0C0F-4823-9CA1-BF25092D7D30}"/>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365F35AA-084C-42AE-939D-D7A76046C828}"/>
              </a:ext>
            </a:extLst>
          </p:cNvPr>
          <p:cNvSpPr>
            <a:spLocks noGrp="1"/>
          </p:cNvSpPr>
          <p:nvPr>
            <p:ph type="body" sz="quarter" idx="13"/>
          </p:nvPr>
        </p:nvSpPr>
        <p:spPr>
          <a:xfrm>
            <a:off x="366139"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4" name="Text Placeholder 3">
            <a:extLst>
              <a:ext uri="{FF2B5EF4-FFF2-40B4-BE49-F238E27FC236}">
                <a16:creationId xmlns:a16="http://schemas.microsoft.com/office/drawing/2014/main" id="{1BABECA4-BC0E-4C4B-BAB2-0ED1FA9F5536}"/>
              </a:ext>
            </a:extLst>
          </p:cNvPr>
          <p:cNvSpPr>
            <a:spLocks noGrp="1"/>
          </p:cNvSpPr>
          <p:nvPr>
            <p:ph type="body" sz="quarter" idx="14"/>
          </p:nvPr>
        </p:nvSpPr>
        <p:spPr>
          <a:xfrm>
            <a:off x="4263651"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5" name="Text Placeholder 3">
            <a:extLst>
              <a:ext uri="{FF2B5EF4-FFF2-40B4-BE49-F238E27FC236}">
                <a16:creationId xmlns:a16="http://schemas.microsoft.com/office/drawing/2014/main" id="{CE286983-2413-4B04-8260-6C4067D0F5F8}"/>
              </a:ext>
            </a:extLst>
          </p:cNvPr>
          <p:cNvSpPr>
            <a:spLocks noGrp="1"/>
          </p:cNvSpPr>
          <p:nvPr>
            <p:ph type="body" sz="quarter" idx="15"/>
          </p:nvPr>
        </p:nvSpPr>
        <p:spPr>
          <a:xfrm>
            <a:off x="8165393"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AAABB3F9-7416-408D-9CDB-BD4F9E792AC2}"/>
              </a:ext>
            </a:extLst>
          </p:cNvPr>
          <p:cNvCxnSpPr>
            <a:cxnSpLocks/>
          </p:cNvCxnSpPr>
          <p:nvPr userDrawn="1"/>
        </p:nvCxnSpPr>
        <p:spPr>
          <a:xfrm>
            <a:off x="8060134"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CA8463-A9DF-4AF0-8753-42BDF544DD7E}"/>
              </a:ext>
            </a:extLst>
          </p:cNvPr>
          <p:cNvCxnSpPr>
            <a:cxnSpLocks/>
          </p:cNvCxnSpPr>
          <p:nvPr userDrawn="1"/>
        </p:nvCxnSpPr>
        <p:spPr>
          <a:xfrm>
            <a:off x="4160507"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20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00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5486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84E6F47-6F6B-4871-961C-736C1A14730E}"/>
              </a:ext>
            </a:extLst>
          </p:cNvPr>
          <p:cNvSpPr>
            <a:spLocks noGrp="1"/>
          </p:cNvSpPr>
          <p:nvPr>
            <p:ph type="title"/>
          </p:nvPr>
        </p:nvSpPr>
        <p:spPr>
          <a:xfrm>
            <a:off x="590868" y="2016204"/>
            <a:ext cx="4160520" cy="1107996"/>
          </a:xfrm>
        </p:spPr>
        <p:txBody>
          <a:bodyPr anchor="b" anchorCtr="0"/>
          <a:lstStyle>
            <a:lvl1pPr>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id="{5C8E00C1-C333-4B37-8418-7C574D937CDE}"/>
              </a:ext>
            </a:extLst>
          </p:cNvPr>
          <p:cNvSpPr>
            <a:spLocks noGrp="1"/>
          </p:cNvSpPr>
          <p:nvPr>
            <p:ph type="body" sz="quarter" idx="10"/>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63699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90A81-E0C1-4E0C-9214-FFEF9D0134F3}"/>
              </a:ext>
            </a:extLst>
          </p:cNvPr>
          <p:cNvSpPr>
            <a:spLocks noGrp="1"/>
          </p:cNvSpPr>
          <p:nvPr>
            <p:ph type="title"/>
          </p:nvPr>
        </p:nvSpPr>
        <p:spPr/>
        <p:txBody>
          <a:bodyPr/>
          <a:lstStyle/>
          <a:p>
            <a:r>
              <a:rPr lang="en-US"/>
              <a:t>Click to edit Master title style</a:t>
            </a:r>
          </a:p>
        </p:txBody>
      </p:sp>
      <p:sp>
        <p:nvSpPr>
          <p:cNvPr id="24" name="Table Placeholder 23">
            <a:extLst>
              <a:ext uri="{FF2B5EF4-FFF2-40B4-BE49-F238E27FC236}">
                <a16:creationId xmlns:a16="http://schemas.microsoft.com/office/drawing/2014/main" id="{5F33DC8F-A6F1-463B-BB0F-31062F8E70E2}"/>
              </a:ext>
            </a:extLst>
          </p:cNvPr>
          <p:cNvSpPr>
            <a:spLocks noGrp="1"/>
          </p:cNvSpPr>
          <p:nvPr>
            <p:ph type="tbl" sz="quarter" idx="10"/>
          </p:nvPr>
        </p:nvSpPr>
        <p:spPr>
          <a:xfrm>
            <a:off x="584200" y="1468438"/>
            <a:ext cx="4745037" cy="4800600"/>
          </a:xfrm>
        </p:spPr>
        <p:txBody>
          <a:bodyPr anchor="ctr" anchorCtr="0">
            <a:noAutofit/>
          </a:bodyPr>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66534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3465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9030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82068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C5A9-00E7-4A7C-A755-54F5B257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79031-8DAD-4707-844F-ED8EC4ADF5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F0A70-9404-4D8B-94FA-2118B8CF52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A3E9C6-606D-46B0-8CAD-27CFAD947AAC}"/>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6" name="Footer Placeholder 5">
            <a:extLst>
              <a:ext uri="{FF2B5EF4-FFF2-40B4-BE49-F238E27FC236}">
                <a16:creationId xmlns:a16="http://schemas.microsoft.com/office/drawing/2014/main" id="{2A152B09-36D5-4573-ABC8-8FB8EBCDD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FF38B6-B576-49BD-9686-2B92309C3941}"/>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6312331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55860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20338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240031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0032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27892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7716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321629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50103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9851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2455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A6CA-0CD4-4393-8360-215E2BC56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FA41D-22D1-496F-B208-825B305ABF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64C687-EB29-40EF-8687-537901AF9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2148B1-11CE-43E8-AE7E-FADD4C33454A}"/>
              </a:ext>
            </a:extLst>
          </p:cNvPr>
          <p:cNvSpPr>
            <a:spLocks noGrp="1"/>
          </p:cNvSpPr>
          <p:nvPr>
            <p:ph type="dt" sz="half" idx="10"/>
          </p:nvPr>
        </p:nvSpPr>
        <p:spPr/>
        <p:txBody>
          <a:bodyPr/>
          <a:lstStyle/>
          <a:p>
            <a:fld id="{B49DAA6C-2E91-4CBB-9586-153CA634C7D5}" type="datetimeFigureOut">
              <a:rPr lang="en-US" smtClean="0"/>
              <a:t>9/30/2023</a:t>
            </a:fld>
            <a:endParaRPr lang="en-US"/>
          </a:p>
        </p:txBody>
      </p:sp>
      <p:sp>
        <p:nvSpPr>
          <p:cNvPr id="6" name="Footer Placeholder 5">
            <a:extLst>
              <a:ext uri="{FF2B5EF4-FFF2-40B4-BE49-F238E27FC236}">
                <a16:creationId xmlns:a16="http://schemas.microsoft.com/office/drawing/2014/main" id="{D906C888-B29A-4DEB-B241-691BC49D4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7DC715-DF23-400C-850B-F236D45CE4CB}"/>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103894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7228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7266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139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420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1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40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471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905999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6104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no anima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867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theme" Target="../theme/theme2.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image" Target="../media/image2.emf"/><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image" Target="../media/image12.svg"/><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theme" Target="../theme/theme3.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image" Target="../media/image11.png"/><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image" Target="../media/image11.png"/><Relationship Id="rId5" Type="http://schemas.openxmlformats.org/officeDocument/2006/relationships/slideLayout" Target="../slideLayouts/slideLayout11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theme" Target="../theme/theme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image" Target="../media/image12.sv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slideLayout" Target="../slideLayouts/slideLayout196.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42" Type="http://schemas.openxmlformats.org/officeDocument/2006/relationships/slideLayout" Target="../slideLayouts/slideLayout199.xml"/><Relationship Id="rId47" Type="http://schemas.openxmlformats.org/officeDocument/2006/relationships/slideLayout" Target="../slideLayouts/slideLayout204.xml"/><Relationship Id="rId50" Type="http://schemas.openxmlformats.org/officeDocument/2006/relationships/slideLayout" Target="../slideLayouts/slideLayout207.xml"/><Relationship Id="rId55" Type="http://schemas.openxmlformats.org/officeDocument/2006/relationships/slideLayout" Target="../slideLayouts/slideLayout212.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9" Type="http://schemas.openxmlformats.org/officeDocument/2006/relationships/slideLayout" Target="../slideLayouts/slideLayout186.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slideLayout" Target="../slideLayouts/slideLayout202.xml"/><Relationship Id="rId53" Type="http://schemas.openxmlformats.org/officeDocument/2006/relationships/slideLayout" Target="../slideLayouts/slideLayout210.xml"/><Relationship Id="rId5" Type="http://schemas.openxmlformats.org/officeDocument/2006/relationships/slideLayout" Target="../slideLayouts/slideLayout162.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 Id="rId48" Type="http://schemas.openxmlformats.org/officeDocument/2006/relationships/slideLayout" Target="../slideLayouts/slideLayout205.xml"/><Relationship Id="rId56" Type="http://schemas.openxmlformats.org/officeDocument/2006/relationships/theme" Target="../theme/theme5.xml"/><Relationship Id="rId8" Type="http://schemas.openxmlformats.org/officeDocument/2006/relationships/slideLayout" Target="../slideLayouts/slideLayout165.xml"/><Relationship Id="rId51" Type="http://schemas.openxmlformats.org/officeDocument/2006/relationships/slideLayout" Target="../slideLayouts/slideLayout208.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slideLayout" Target="../slideLayouts/slideLayout203.xml"/><Relationship Id="rId20" Type="http://schemas.openxmlformats.org/officeDocument/2006/relationships/slideLayout" Target="../slideLayouts/slideLayout177.xml"/><Relationship Id="rId41" Type="http://schemas.openxmlformats.org/officeDocument/2006/relationships/slideLayout" Target="../slideLayouts/slideLayout198.xml"/><Relationship Id="rId54" Type="http://schemas.openxmlformats.org/officeDocument/2006/relationships/slideLayout" Target="../slideLayouts/slideLayout211.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49" Type="http://schemas.openxmlformats.org/officeDocument/2006/relationships/slideLayout" Target="../slideLayouts/slideLayout206.xml"/><Relationship Id="rId57" Type="http://schemas.openxmlformats.org/officeDocument/2006/relationships/image" Target="../media/image32.png"/><Relationship Id="rId10" Type="http://schemas.openxmlformats.org/officeDocument/2006/relationships/slideLayout" Target="../slideLayouts/slideLayout167.xml"/><Relationship Id="rId31" Type="http://schemas.openxmlformats.org/officeDocument/2006/relationships/slideLayout" Target="../slideLayouts/slideLayout188.xml"/><Relationship Id="rId44" Type="http://schemas.openxmlformats.org/officeDocument/2006/relationships/slideLayout" Target="../slideLayouts/slideLayout201.xml"/><Relationship Id="rId52" Type="http://schemas.openxmlformats.org/officeDocument/2006/relationships/slideLayout" Target="../slideLayouts/slideLayout209.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8.xml"/><Relationship Id="rId21" Type="http://schemas.openxmlformats.org/officeDocument/2006/relationships/slideLayout" Target="../slideLayouts/slideLayout233.xml"/><Relationship Id="rId42" Type="http://schemas.openxmlformats.org/officeDocument/2006/relationships/slideLayout" Target="../slideLayouts/slideLayout254.xml"/><Relationship Id="rId47" Type="http://schemas.openxmlformats.org/officeDocument/2006/relationships/slideLayout" Target="../slideLayouts/slideLayout259.xml"/><Relationship Id="rId63" Type="http://schemas.openxmlformats.org/officeDocument/2006/relationships/slideLayout" Target="../slideLayouts/slideLayout275.xml"/><Relationship Id="rId68" Type="http://schemas.openxmlformats.org/officeDocument/2006/relationships/slideLayout" Target="../slideLayouts/slideLayout280.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9" Type="http://schemas.openxmlformats.org/officeDocument/2006/relationships/slideLayout" Target="../slideLayouts/slideLayout241.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53" Type="http://schemas.openxmlformats.org/officeDocument/2006/relationships/slideLayout" Target="../slideLayouts/slideLayout265.xml"/><Relationship Id="rId58" Type="http://schemas.openxmlformats.org/officeDocument/2006/relationships/slideLayout" Target="../slideLayouts/slideLayout270.xml"/><Relationship Id="rId66" Type="http://schemas.openxmlformats.org/officeDocument/2006/relationships/slideLayout" Target="../slideLayouts/slideLayout278.xml"/><Relationship Id="rId74" Type="http://schemas.openxmlformats.org/officeDocument/2006/relationships/slideLayout" Target="../slideLayouts/slideLayout286.xml"/><Relationship Id="rId5" Type="http://schemas.openxmlformats.org/officeDocument/2006/relationships/slideLayout" Target="../slideLayouts/slideLayout217.xml"/><Relationship Id="rId61" Type="http://schemas.openxmlformats.org/officeDocument/2006/relationships/slideLayout" Target="../slideLayouts/slideLayout273.xml"/><Relationship Id="rId19" Type="http://schemas.openxmlformats.org/officeDocument/2006/relationships/slideLayout" Target="../slideLayouts/slideLayout23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slideLayout" Target="../slideLayouts/slideLayout260.xml"/><Relationship Id="rId56" Type="http://schemas.openxmlformats.org/officeDocument/2006/relationships/slideLayout" Target="../slideLayouts/slideLayout268.xml"/><Relationship Id="rId64" Type="http://schemas.openxmlformats.org/officeDocument/2006/relationships/slideLayout" Target="../slideLayouts/slideLayout276.xml"/><Relationship Id="rId69" Type="http://schemas.openxmlformats.org/officeDocument/2006/relationships/slideLayout" Target="../slideLayouts/slideLayout281.xml"/><Relationship Id="rId8" Type="http://schemas.openxmlformats.org/officeDocument/2006/relationships/slideLayout" Target="../slideLayouts/slideLayout220.xml"/><Relationship Id="rId51" Type="http://schemas.openxmlformats.org/officeDocument/2006/relationships/slideLayout" Target="../slideLayouts/slideLayout263.xml"/><Relationship Id="rId72" Type="http://schemas.openxmlformats.org/officeDocument/2006/relationships/slideLayout" Target="../slideLayouts/slideLayout284.xml"/><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slideLayout" Target="../slideLayouts/slideLayout258.xml"/><Relationship Id="rId59" Type="http://schemas.openxmlformats.org/officeDocument/2006/relationships/slideLayout" Target="../slideLayouts/slideLayout271.xml"/><Relationship Id="rId67" Type="http://schemas.openxmlformats.org/officeDocument/2006/relationships/slideLayout" Target="../slideLayouts/slideLayout279.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54" Type="http://schemas.openxmlformats.org/officeDocument/2006/relationships/slideLayout" Target="../slideLayouts/slideLayout266.xml"/><Relationship Id="rId62" Type="http://schemas.openxmlformats.org/officeDocument/2006/relationships/slideLayout" Target="../slideLayouts/slideLayout274.xml"/><Relationship Id="rId70" Type="http://schemas.openxmlformats.org/officeDocument/2006/relationships/slideLayout" Target="../slideLayouts/slideLayout282.xml"/><Relationship Id="rId75" Type="http://schemas.openxmlformats.org/officeDocument/2006/relationships/theme" Target="../theme/theme6.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slideLayout" Target="../slideLayouts/slideLayout261.xml"/><Relationship Id="rId57" Type="http://schemas.openxmlformats.org/officeDocument/2006/relationships/slideLayout" Target="../slideLayouts/slideLayout269.xml"/><Relationship Id="rId10" Type="http://schemas.openxmlformats.org/officeDocument/2006/relationships/slideLayout" Target="../slideLayouts/slideLayout222.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52" Type="http://schemas.openxmlformats.org/officeDocument/2006/relationships/slideLayout" Target="../slideLayouts/slideLayout264.xml"/><Relationship Id="rId60" Type="http://schemas.openxmlformats.org/officeDocument/2006/relationships/slideLayout" Target="../slideLayouts/slideLayout272.xml"/><Relationship Id="rId65" Type="http://schemas.openxmlformats.org/officeDocument/2006/relationships/slideLayout" Target="../slideLayouts/slideLayout277.xml"/><Relationship Id="rId73" Type="http://schemas.openxmlformats.org/officeDocument/2006/relationships/slideLayout" Target="../slideLayouts/slideLayout28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9" Type="http://schemas.openxmlformats.org/officeDocument/2006/relationships/slideLayout" Target="../slideLayouts/slideLayout251.xml"/><Relationship Id="rId34" Type="http://schemas.openxmlformats.org/officeDocument/2006/relationships/slideLayout" Target="../slideLayouts/slideLayout246.xml"/><Relationship Id="rId50" Type="http://schemas.openxmlformats.org/officeDocument/2006/relationships/slideLayout" Target="../slideLayouts/slideLayout262.xml"/><Relationship Id="rId55" Type="http://schemas.openxmlformats.org/officeDocument/2006/relationships/slideLayout" Target="../slideLayouts/slideLayout267.xml"/><Relationship Id="rId76" Type="http://schemas.openxmlformats.org/officeDocument/2006/relationships/image" Target="../media/image2.emf"/><Relationship Id="rId7" Type="http://schemas.openxmlformats.org/officeDocument/2006/relationships/slideLayout" Target="../slideLayouts/slideLayout219.xml"/><Relationship Id="rId71" Type="http://schemas.openxmlformats.org/officeDocument/2006/relationships/slideLayout" Target="../slideLayouts/slideLayout2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24788A-B942-421A-A1F3-50551D3049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6EC2E-D110-4C5B-A54F-B29526C751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EC1C-C262-4603-A14E-3F655869F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AA6C-2E91-4CBB-9586-153CA634C7D5}" type="datetimeFigureOut">
              <a:rPr lang="en-US" smtClean="0"/>
              <a:t>9/30/2023</a:t>
            </a:fld>
            <a:endParaRPr lang="en-US"/>
          </a:p>
        </p:txBody>
      </p:sp>
      <p:sp>
        <p:nvSpPr>
          <p:cNvPr id="5" name="Footer Placeholder 4">
            <a:extLst>
              <a:ext uri="{FF2B5EF4-FFF2-40B4-BE49-F238E27FC236}">
                <a16:creationId xmlns:a16="http://schemas.microsoft.com/office/drawing/2014/main" id="{5CD636D6-750F-4196-ADCE-5FF453902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CB4047-A805-465F-8139-7BAF0D9A50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BD4E4-050E-4ACB-8A89-31FCB16D7A60}" type="slidenum">
              <a:rPr lang="en-US" smtClean="0"/>
              <a:t>‹#›</a:t>
            </a:fld>
            <a:endParaRPr lang="en-US"/>
          </a:p>
        </p:txBody>
      </p:sp>
    </p:spTree>
    <p:extLst>
      <p:ext uri="{BB962C8B-B14F-4D97-AF65-F5344CB8AC3E}">
        <p14:creationId xmlns:p14="http://schemas.microsoft.com/office/powerpoint/2010/main" val="1521668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9" r:id="rId12"/>
    <p:sldLayoutId id="214748394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3652313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24544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9187533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57"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8764441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578935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 id="2147483917" r:id="rId53"/>
    <p:sldLayoutId id="2147483918" r:id="rId54"/>
    <p:sldLayoutId id="2147483919" r:id="rId55"/>
    <p:sldLayoutId id="2147483920" r:id="rId56"/>
    <p:sldLayoutId id="2147483921" r:id="rId57"/>
    <p:sldLayoutId id="2147483922" r:id="rId58"/>
    <p:sldLayoutId id="2147483923" r:id="rId59"/>
    <p:sldLayoutId id="2147483924" r:id="rId60"/>
    <p:sldLayoutId id="2147483925" r:id="rId61"/>
    <p:sldLayoutId id="2147483926" r:id="rId62"/>
    <p:sldLayoutId id="2147483927" r:id="rId63"/>
    <p:sldLayoutId id="2147483928" r:id="rId64"/>
    <p:sldLayoutId id="2147483929" r:id="rId65"/>
    <p:sldLayoutId id="2147483930" r:id="rId66"/>
    <p:sldLayoutId id="2147483931" r:id="rId67"/>
    <p:sldLayoutId id="2147483932" r:id="rId68"/>
    <p:sldLayoutId id="2147483933" r:id="rId69"/>
    <p:sldLayoutId id="2147483934" r:id="rId70"/>
    <p:sldLayoutId id="2147483935" r:id="rId71"/>
    <p:sldLayoutId id="2147483936" r:id="rId72"/>
    <p:sldLayoutId id="2147483937" r:id="rId73"/>
    <p:sldLayoutId id="214748393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8.wmf"/><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oleObject" Target="../embeddings/oleObject6.bin"/><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oleObject" Target="../embeddings/oleObject7.bin"/><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2.wmf"/><Relationship Id="rId2" Type="http://schemas.openxmlformats.org/officeDocument/2006/relationships/oleObject" Target="../embeddings/oleObject8.bin"/><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3.wmf"/><Relationship Id="rId2" Type="http://schemas.openxmlformats.org/officeDocument/2006/relationships/oleObject" Target="../embeddings/oleObject9.bin"/><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4.wmf"/><Relationship Id="rId2" Type="http://schemas.openxmlformats.org/officeDocument/2006/relationships/oleObject" Target="../embeddings/oleObject10.bin"/><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5.wmf"/><Relationship Id="rId2" Type="http://schemas.openxmlformats.org/officeDocument/2006/relationships/oleObject" Target="../embeddings/oleObject11.bin"/><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oleObject" Target="../embeddings/oleObject12.bin"/><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03.wmf"/><Relationship Id="rId2" Type="http://schemas.openxmlformats.org/officeDocument/2006/relationships/oleObject" Target="../embeddings/oleObject13.bin"/><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oleObject" Target="../embeddings/oleObject14.bin"/><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oleObject" Target="../embeddings/oleObject15.bin"/><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oleObject" Target="../embeddings/oleObject16.bin"/><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oleObject" Target="../embeddings/oleObject17.bin"/><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oleObject" Target="../embeddings/oleObject18.bin"/><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19.bin"/><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110.wmf"/><Relationship Id="rId2" Type="http://schemas.openxmlformats.org/officeDocument/2006/relationships/oleObject" Target="../embeddings/oleObject20.bin"/><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1.w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12.w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13.w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4.w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15.wmf"/><Relationship Id="rId2" Type="http://schemas.openxmlformats.org/officeDocument/2006/relationships/oleObject" Target="../embeddings/oleObject25.bin"/><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16.wmf"/><Relationship Id="rId2" Type="http://schemas.openxmlformats.org/officeDocument/2006/relationships/oleObject" Target="../embeddings/oleObject26.bin"/><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oleObject" Target="../embeddings/oleObject27.bin"/><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18.wmf"/><Relationship Id="rId2" Type="http://schemas.openxmlformats.org/officeDocument/2006/relationships/oleObject" Target="../embeddings/oleObject28.bin"/><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19.wmf"/><Relationship Id="rId2" Type="http://schemas.openxmlformats.org/officeDocument/2006/relationships/oleObject" Target="../embeddings/oleObject29.bin"/><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hyperlink" Target="https://aka.ms/bcexcelsamples" TargetMode="Externa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oleObject" Target="../embeddings/oleObject30.bin"/><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5.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456E-6DE7-48BC-839E-E3AF5D3EA3B7}"/>
              </a:ext>
            </a:extLst>
          </p:cNvPr>
          <p:cNvSpPr>
            <a:spLocks noGrp="1"/>
          </p:cNvSpPr>
          <p:nvPr>
            <p:ph type="ctrTitle"/>
          </p:nvPr>
        </p:nvSpPr>
        <p:spPr/>
        <p:txBody>
          <a:bodyPr/>
          <a:lstStyle/>
          <a:p>
            <a:r>
              <a:rPr lang="en-US"/>
              <a:t>Excel layouts in Dynamics 365 Business Central</a:t>
            </a:r>
          </a:p>
        </p:txBody>
      </p:sp>
      <p:sp>
        <p:nvSpPr>
          <p:cNvPr id="3" name="Subtitle 2">
            <a:extLst>
              <a:ext uri="{FF2B5EF4-FFF2-40B4-BE49-F238E27FC236}">
                <a16:creationId xmlns:a16="http://schemas.microsoft.com/office/drawing/2014/main" id="{5A99F30C-2396-4D32-9081-EB1D032FCB23}"/>
              </a:ext>
            </a:extLst>
          </p:cNvPr>
          <p:cNvSpPr>
            <a:spLocks noGrp="1"/>
          </p:cNvSpPr>
          <p:nvPr>
            <p:ph type="subTitle" idx="1"/>
          </p:nvPr>
        </p:nvSpPr>
        <p:spPr/>
        <p:txBody>
          <a:bodyPr/>
          <a:lstStyle/>
          <a:p>
            <a:r>
              <a:rPr lang="en-US"/>
              <a:t>Introduced in the 2022 release wave 1</a:t>
            </a:r>
          </a:p>
        </p:txBody>
      </p:sp>
    </p:spTree>
    <p:extLst>
      <p:ext uri="{BB962C8B-B14F-4D97-AF65-F5344CB8AC3E}">
        <p14:creationId xmlns:p14="http://schemas.microsoft.com/office/powerpoint/2010/main" val="4279906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A126-3E29-42E7-AA59-14CEC77302B8}"/>
              </a:ext>
            </a:extLst>
          </p:cNvPr>
          <p:cNvSpPr>
            <a:spLocks noGrp="1"/>
          </p:cNvSpPr>
          <p:nvPr>
            <p:ph type="title"/>
          </p:nvPr>
        </p:nvSpPr>
        <p:spPr/>
        <p:txBody>
          <a:bodyPr/>
          <a:lstStyle/>
          <a:p>
            <a:r>
              <a:rPr lang="en-US"/>
              <a:t>Use multiple pivot tables in the same report</a:t>
            </a:r>
          </a:p>
        </p:txBody>
      </p:sp>
      <p:graphicFrame>
        <p:nvGraphicFramePr>
          <p:cNvPr id="4" name="Object 3">
            <a:extLst>
              <a:ext uri="{FF2B5EF4-FFF2-40B4-BE49-F238E27FC236}">
                <a16:creationId xmlns:a16="http://schemas.microsoft.com/office/drawing/2014/main" id="{8B68440C-A7D0-4A96-9289-3F3407232283}"/>
              </a:ext>
            </a:extLst>
          </p:cNvPr>
          <p:cNvGraphicFramePr>
            <a:graphicFrameLocks noChangeAspect="1"/>
          </p:cNvGraphicFramePr>
          <p:nvPr>
            <p:extLst>
              <p:ext uri="{D42A27DB-BD31-4B8C-83A1-F6EECF244321}">
                <p14:modId xmlns:p14="http://schemas.microsoft.com/office/powerpoint/2010/main" val="309994192"/>
              </p:ext>
            </p:extLst>
          </p:nvPr>
        </p:nvGraphicFramePr>
        <p:xfrm>
          <a:off x="838200" y="1726546"/>
          <a:ext cx="10079038" cy="4362727"/>
        </p:xfrm>
        <a:graphic>
          <a:graphicData uri="http://schemas.openxmlformats.org/presentationml/2006/ole">
            <mc:AlternateContent xmlns:mc="http://schemas.openxmlformats.org/markup-compatibility/2006">
              <mc:Choice xmlns:v="urn:schemas-microsoft-com:vml" Requires="v">
                <p:oleObj name="Bitmap Image" r:id="rId2" imgW="12080880" imgH="5229360" progId="Paint.Picture">
                  <p:embed/>
                </p:oleObj>
              </mc:Choice>
              <mc:Fallback>
                <p:oleObj name="Bitmap Image" r:id="rId2" imgW="12080880" imgH="5229360" progId="Paint.Picture">
                  <p:embed/>
                  <p:pic>
                    <p:nvPicPr>
                      <p:cNvPr id="4" name="Object 3">
                        <a:extLst>
                          <a:ext uri="{FF2B5EF4-FFF2-40B4-BE49-F238E27FC236}">
                            <a16:creationId xmlns:a16="http://schemas.microsoft.com/office/drawing/2014/main" id="{8B68440C-A7D0-4A96-9289-3F3407232283}"/>
                          </a:ext>
                        </a:extLst>
                      </p:cNvPr>
                      <p:cNvPicPr/>
                      <p:nvPr/>
                    </p:nvPicPr>
                    <p:blipFill>
                      <a:blip r:embed="rId3"/>
                      <a:stretch>
                        <a:fillRect/>
                      </a:stretch>
                    </p:blipFill>
                    <p:spPr>
                      <a:xfrm>
                        <a:off x="838200" y="1726546"/>
                        <a:ext cx="10079038" cy="4362727"/>
                      </a:xfrm>
                      <a:prstGeom prst="rect">
                        <a:avLst/>
                      </a:prstGeom>
                    </p:spPr>
                  </p:pic>
                </p:oleObj>
              </mc:Fallback>
            </mc:AlternateContent>
          </a:graphicData>
        </a:graphic>
      </p:graphicFrame>
    </p:spTree>
    <p:extLst>
      <p:ext uri="{BB962C8B-B14F-4D97-AF65-F5344CB8AC3E}">
        <p14:creationId xmlns:p14="http://schemas.microsoft.com/office/powerpoint/2010/main" val="1199291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035553" cy="1325563"/>
          </a:xfrm>
        </p:spPr>
        <p:txBody>
          <a:bodyPr/>
          <a:lstStyle/>
          <a:p>
            <a:r>
              <a:rPr lang="en-US"/>
              <a:t>Use table formulas to create calculated columns</a:t>
            </a:r>
          </a:p>
        </p:txBody>
      </p:sp>
      <p:graphicFrame>
        <p:nvGraphicFramePr>
          <p:cNvPr id="4" name="Object 3">
            <a:extLst>
              <a:ext uri="{FF2B5EF4-FFF2-40B4-BE49-F238E27FC236}">
                <a16:creationId xmlns:a16="http://schemas.microsoft.com/office/drawing/2014/main" id="{3DC6836B-432A-4E40-BFC0-2CC6A80E7E0B}"/>
              </a:ext>
            </a:extLst>
          </p:cNvPr>
          <p:cNvGraphicFramePr>
            <a:graphicFrameLocks noChangeAspect="1"/>
          </p:cNvGraphicFramePr>
          <p:nvPr>
            <p:extLst>
              <p:ext uri="{D42A27DB-BD31-4B8C-83A1-F6EECF244321}">
                <p14:modId xmlns:p14="http://schemas.microsoft.com/office/powerpoint/2010/main" val="3351712680"/>
              </p:ext>
            </p:extLst>
          </p:nvPr>
        </p:nvGraphicFramePr>
        <p:xfrm>
          <a:off x="933732" y="1484779"/>
          <a:ext cx="9858375" cy="5292725"/>
        </p:xfrm>
        <a:graphic>
          <a:graphicData uri="http://schemas.openxmlformats.org/presentationml/2006/ole">
            <mc:AlternateContent xmlns:mc="http://schemas.openxmlformats.org/markup-compatibility/2006">
              <mc:Choice xmlns:v="urn:schemas-microsoft-com:vml" Requires="v">
                <p:oleObj name="Bitmap Image" r:id="rId2" imgW="9858240" imgH="5292720" progId="Paint.Picture">
                  <p:embed/>
                </p:oleObj>
              </mc:Choice>
              <mc:Fallback>
                <p:oleObj name="Bitmap Image" r:id="rId2" imgW="9858240" imgH="5292720" progId="Paint.Picture">
                  <p:embed/>
                  <p:pic>
                    <p:nvPicPr>
                      <p:cNvPr id="4" name="Object 3">
                        <a:extLst>
                          <a:ext uri="{FF2B5EF4-FFF2-40B4-BE49-F238E27FC236}">
                            <a16:creationId xmlns:a16="http://schemas.microsoft.com/office/drawing/2014/main" id="{3DC6836B-432A-4E40-BFC0-2CC6A80E7E0B}"/>
                          </a:ext>
                        </a:extLst>
                      </p:cNvPr>
                      <p:cNvPicPr/>
                      <p:nvPr/>
                    </p:nvPicPr>
                    <p:blipFill>
                      <a:blip r:embed="rId3"/>
                      <a:stretch>
                        <a:fillRect/>
                      </a:stretch>
                    </p:blipFill>
                    <p:spPr>
                      <a:xfrm>
                        <a:off x="933732" y="1484779"/>
                        <a:ext cx="9858375" cy="529272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BF67CD3-7078-4A96-9C59-36B6141ADB39}"/>
              </a:ext>
            </a:extLst>
          </p:cNvPr>
          <p:cNvSpPr/>
          <p:nvPr/>
        </p:nvSpPr>
        <p:spPr>
          <a:xfrm>
            <a:off x="3765175" y="2070847"/>
            <a:ext cx="1304366" cy="435236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18123C-CB4E-483D-950A-9E1BE7A8F6D5}"/>
              </a:ext>
            </a:extLst>
          </p:cNvPr>
          <p:cNvSpPr/>
          <p:nvPr/>
        </p:nvSpPr>
        <p:spPr>
          <a:xfrm>
            <a:off x="2962834" y="1550894"/>
            <a:ext cx="7758954" cy="26445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1478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FE5-82A4-431F-B062-9D7E07E73788}"/>
              </a:ext>
            </a:extLst>
          </p:cNvPr>
          <p:cNvSpPr>
            <a:spLocks noGrp="1"/>
          </p:cNvSpPr>
          <p:nvPr>
            <p:ph type="title"/>
          </p:nvPr>
        </p:nvSpPr>
        <p:spPr/>
        <p:txBody>
          <a:bodyPr/>
          <a:lstStyle/>
          <a:p>
            <a:r>
              <a:rPr lang="en-US"/>
              <a:t>Use </a:t>
            </a:r>
            <a:r>
              <a:rPr lang="en-US" err="1"/>
              <a:t>PowerQuery</a:t>
            </a:r>
            <a:r>
              <a:rPr lang="en-US"/>
              <a:t> to merge with external data</a:t>
            </a:r>
          </a:p>
        </p:txBody>
      </p:sp>
      <p:grpSp>
        <p:nvGrpSpPr>
          <p:cNvPr id="8" name="Group 7">
            <a:extLst>
              <a:ext uri="{FF2B5EF4-FFF2-40B4-BE49-F238E27FC236}">
                <a16:creationId xmlns:a16="http://schemas.microsoft.com/office/drawing/2014/main" id="{B602EB71-4148-4B7B-BB5D-1C3BF28A547E}"/>
              </a:ext>
            </a:extLst>
          </p:cNvPr>
          <p:cNvGrpSpPr/>
          <p:nvPr/>
        </p:nvGrpSpPr>
        <p:grpSpPr>
          <a:xfrm>
            <a:off x="838200" y="1954306"/>
            <a:ext cx="8314129" cy="4758764"/>
            <a:chOff x="838200" y="1954306"/>
            <a:chExt cx="8314129" cy="4758764"/>
          </a:xfrm>
        </p:grpSpPr>
        <p:graphicFrame>
          <p:nvGraphicFramePr>
            <p:cNvPr id="5" name="Object 4">
              <a:extLst>
                <a:ext uri="{FF2B5EF4-FFF2-40B4-BE49-F238E27FC236}">
                  <a16:creationId xmlns:a16="http://schemas.microsoft.com/office/drawing/2014/main" id="{F8B5255B-93F2-4AC8-BCDA-3E877A2C11CD}"/>
                </a:ext>
              </a:extLst>
            </p:cNvPr>
            <p:cNvGraphicFramePr>
              <a:graphicFrameLocks noChangeAspect="1"/>
            </p:cNvGraphicFramePr>
            <p:nvPr>
              <p:extLst>
                <p:ext uri="{D42A27DB-BD31-4B8C-83A1-F6EECF244321}">
                  <p14:modId xmlns:p14="http://schemas.microsoft.com/office/powerpoint/2010/main" val="817170150"/>
                </p:ext>
              </p:extLst>
            </p:nvPr>
          </p:nvGraphicFramePr>
          <p:xfrm>
            <a:off x="838200" y="1954306"/>
            <a:ext cx="8314129" cy="4758764"/>
          </p:xfrm>
          <a:graphic>
            <a:graphicData uri="http://schemas.openxmlformats.org/presentationml/2006/ole">
              <mc:AlternateContent xmlns:mc="http://schemas.openxmlformats.org/markup-compatibility/2006">
                <mc:Choice xmlns:v="urn:schemas-microsoft-com:vml" Requires="v">
                  <p:oleObj name="Bitmap Image" r:id="rId2" imgW="9147240" imgH="5235480" progId="Paint.Picture">
                    <p:embed/>
                  </p:oleObj>
                </mc:Choice>
                <mc:Fallback>
                  <p:oleObj name="Bitmap Image" r:id="rId2" imgW="9147240" imgH="5235480" progId="Paint.Picture">
                    <p:embed/>
                    <p:pic>
                      <p:nvPicPr>
                        <p:cNvPr id="5" name="Object 4">
                          <a:extLst>
                            <a:ext uri="{FF2B5EF4-FFF2-40B4-BE49-F238E27FC236}">
                              <a16:creationId xmlns:a16="http://schemas.microsoft.com/office/drawing/2014/main" id="{F8B5255B-93F2-4AC8-BCDA-3E877A2C11CD}"/>
                            </a:ext>
                          </a:extLst>
                        </p:cNvPr>
                        <p:cNvPicPr/>
                        <p:nvPr/>
                      </p:nvPicPr>
                      <p:blipFill>
                        <a:blip r:embed="rId3"/>
                        <a:stretch>
                          <a:fillRect/>
                        </a:stretch>
                      </p:blipFill>
                      <p:spPr>
                        <a:xfrm>
                          <a:off x="838200" y="1954306"/>
                          <a:ext cx="8314129" cy="475876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A8A39F-53E8-46DB-AF63-28215D00CDCA}"/>
                </a:ext>
              </a:extLst>
            </p:cNvPr>
            <p:cNvSpPr/>
            <p:nvPr/>
          </p:nvSpPr>
          <p:spPr>
            <a:xfrm>
              <a:off x="8328211" y="2388596"/>
              <a:ext cx="824117" cy="403013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50519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B9812-DAC2-474B-8D53-9BA1322A4216}"/>
              </a:ext>
            </a:extLst>
          </p:cNvPr>
          <p:cNvSpPr>
            <a:spLocks noGrp="1"/>
          </p:cNvSpPr>
          <p:nvPr>
            <p:ph type="title"/>
          </p:nvPr>
        </p:nvSpPr>
        <p:spPr/>
        <p:txBody>
          <a:bodyPr/>
          <a:lstStyle/>
          <a:p>
            <a:r>
              <a:rPr lang="en-US"/>
              <a:t>Credit scores loaded from Excel workbook on </a:t>
            </a:r>
            <a:r>
              <a:rPr lang="en-US" err="1"/>
              <a:t>Sharepoint</a:t>
            </a:r>
            <a:r>
              <a:rPr lang="en-US"/>
              <a:t> site</a:t>
            </a:r>
          </a:p>
        </p:txBody>
      </p:sp>
      <p:graphicFrame>
        <p:nvGraphicFramePr>
          <p:cNvPr id="4" name="Object 3">
            <a:extLst>
              <a:ext uri="{FF2B5EF4-FFF2-40B4-BE49-F238E27FC236}">
                <a16:creationId xmlns:a16="http://schemas.microsoft.com/office/drawing/2014/main" id="{4FF2A3BF-B914-480A-A1A6-00435F0E358D}"/>
              </a:ext>
            </a:extLst>
          </p:cNvPr>
          <p:cNvGraphicFramePr>
            <a:graphicFrameLocks noChangeAspect="1"/>
          </p:cNvGraphicFramePr>
          <p:nvPr>
            <p:extLst>
              <p:ext uri="{D42A27DB-BD31-4B8C-83A1-F6EECF244321}">
                <p14:modId xmlns:p14="http://schemas.microsoft.com/office/powerpoint/2010/main" val="3243960508"/>
              </p:ext>
            </p:extLst>
          </p:nvPr>
        </p:nvGraphicFramePr>
        <p:xfrm>
          <a:off x="838200" y="1891553"/>
          <a:ext cx="7553002" cy="4701335"/>
        </p:xfrm>
        <a:graphic>
          <a:graphicData uri="http://schemas.openxmlformats.org/presentationml/2006/ole">
            <mc:AlternateContent xmlns:mc="http://schemas.openxmlformats.org/markup-compatibility/2006">
              <mc:Choice xmlns:v="urn:schemas-microsoft-com:vml" Requires="v">
                <p:oleObj name="Bitmap Image" r:id="rId2" imgW="10410840" imgH="6480000" progId="Paint.Picture">
                  <p:embed/>
                </p:oleObj>
              </mc:Choice>
              <mc:Fallback>
                <p:oleObj name="Bitmap Image" r:id="rId2" imgW="10410840" imgH="6480000" progId="Paint.Picture">
                  <p:embed/>
                  <p:pic>
                    <p:nvPicPr>
                      <p:cNvPr id="4" name="Object 3">
                        <a:extLst>
                          <a:ext uri="{FF2B5EF4-FFF2-40B4-BE49-F238E27FC236}">
                            <a16:creationId xmlns:a16="http://schemas.microsoft.com/office/drawing/2014/main" id="{4FF2A3BF-B914-480A-A1A6-00435F0E358D}"/>
                          </a:ext>
                        </a:extLst>
                      </p:cNvPr>
                      <p:cNvPicPr/>
                      <p:nvPr/>
                    </p:nvPicPr>
                    <p:blipFill>
                      <a:blip r:embed="rId3"/>
                      <a:stretch>
                        <a:fillRect/>
                      </a:stretch>
                    </p:blipFill>
                    <p:spPr>
                      <a:xfrm>
                        <a:off x="838200" y="1891553"/>
                        <a:ext cx="7553002" cy="470133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C105779-1EC2-4F37-8A93-6A6371ECDCC5}"/>
              </a:ext>
            </a:extLst>
          </p:cNvPr>
          <p:cNvSpPr/>
          <p:nvPr/>
        </p:nvSpPr>
        <p:spPr>
          <a:xfrm>
            <a:off x="3511923" y="4638738"/>
            <a:ext cx="3991535" cy="18427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341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5EA5A350-5D9C-4AA9-9D25-DE88C3D51F7D}"/>
              </a:ext>
            </a:extLst>
          </p:cNvPr>
          <p:cNvGraphicFramePr>
            <a:graphicFrameLocks noChangeAspect="1"/>
          </p:cNvGraphicFramePr>
          <p:nvPr>
            <p:extLst>
              <p:ext uri="{D42A27DB-BD31-4B8C-83A1-F6EECF244321}">
                <p14:modId xmlns:p14="http://schemas.microsoft.com/office/powerpoint/2010/main" val="2915306414"/>
              </p:ext>
            </p:extLst>
          </p:nvPr>
        </p:nvGraphicFramePr>
        <p:xfrm>
          <a:off x="2764367" y="1596856"/>
          <a:ext cx="9427633" cy="5331213"/>
        </p:xfrm>
        <a:graphic>
          <a:graphicData uri="http://schemas.openxmlformats.org/presentationml/2006/ole">
            <mc:AlternateContent xmlns:mc="http://schemas.openxmlformats.org/markup-compatibility/2006">
              <mc:Choice xmlns:v="urn:schemas-microsoft-com:vml" Requires="v">
                <p:oleObj name="Bitmap Image" r:id="rId2" imgW="11223720" imgH="6346800" progId="Paint.Picture">
                  <p:embed/>
                </p:oleObj>
              </mc:Choice>
              <mc:Fallback>
                <p:oleObj name="Bitmap Image" r:id="rId2" imgW="11223720" imgH="6346800" progId="Paint.Picture">
                  <p:embed/>
                  <p:pic>
                    <p:nvPicPr>
                      <p:cNvPr id="4" name="Object 3">
                        <a:extLst>
                          <a:ext uri="{FF2B5EF4-FFF2-40B4-BE49-F238E27FC236}">
                            <a16:creationId xmlns:a16="http://schemas.microsoft.com/office/drawing/2014/main" id="{5EA5A350-5D9C-4AA9-9D25-DE88C3D51F7D}"/>
                          </a:ext>
                        </a:extLst>
                      </p:cNvPr>
                      <p:cNvPicPr/>
                      <p:nvPr/>
                    </p:nvPicPr>
                    <p:blipFill>
                      <a:blip r:embed="rId3"/>
                      <a:stretch>
                        <a:fillRect/>
                      </a:stretch>
                    </p:blipFill>
                    <p:spPr>
                      <a:xfrm>
                        <a:off x="2764367" y="1596856"/>
                        <a:ext cx="9427633" cy="5331213"/>
                      </a:xfrm>
                      <a:prstGeom prst="rect">
                        <a:avLst/>
                      </a:prstGeom>
                    </p:spPr>
                  </p:pic>
                </p:oleObj>
              </mc:Fallback>
            </mc:AlternateContent>
          </a:graphicData>
        </a:graphic>
      </p:graphicFrame>
    </p:spTree>
    <p:extLst>
      <p:ext uri="{BB962C8B-B14F-4D97-AF65-F5344CB8AC3E}">
        <p14:creationId xmlns:p14="http://schemas.microsoft.com/office/powerpoint/2010/main" val="3395096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3" name="Object 2">
            <a:extLst>
              <a:ext uri="{FF2B5EF4-FFF2-40B4-BE49-F238E27FC236}">
                <a16:creationId xmlns:a16="http://schemas.microsoft.com/office/drawing/2014/main" id="{F11ADCA6-24EA-425C-8B8A-321B8DA35C7C}"/>
              </a:ext>
            </a:extLst>
          </p:cNvPr>
          <p:cNvGraphicFramePr>
            <a:graphicFrameLocks noChangeAspect="1"/>
          </p:cNvGraphicFramePr>
          <p:nvPr/>
        </p:nvGraphicFramePr>
        <p:xfrm>
          <a:off x="2590192" y="1447800"/>
          <a:ext cx="9149371" cy="5170488"/>
        </p:xfrm>
        <a:graphic>
          <a:graphicData uri="http://schemas.openxmlformats.org/presentationml/2006/ole">
            <mc:AlternateContent xmlns:mc="http://schemas.openxmlformats.org/markup-compatibility/2006">
              <mc:Choice xmlns:v="urn:schemas-microsoft-com:vml" Requires="v">
                <p:oleObj name="Bitmap Image" r:id="rId2" imgW="11287080" imgH="6378480" progId="Paint.Picture">
                  <p:embed/>
                </p:oleObj>
              </mc:Choice>
              <mc:Fallback>
                <p:oleObj name="Bitmap Image" r:id="rId2" imgW="11287080" imgH="6378480" progId="Paint.Picture">
                  <p:embed/>
                  <p:pic>
                    <p:nvPicPr>
                      <p:cNvPr id="3" name="Object 2">
                        <a:extLst>
                          <a:ext uri="{FF2B5EF4-FFF2-40B4-BE49-F238E27FC236}">
                            <a16:creationId xmlns:a16="http://schemas.microsoft.com/office/drawing/2014/main" id="{F11ADCA6-24EA-425C-8B8A-321B8DA35C7C}"/>
                          </a:ext>
                        </a:extLst>
                      </p:cNvPr>
                      <p:cNvPicPr/>
                      <p:nvPr/>
                    </p:nvPicPr>
                    <p:blipFill>
                      <a:blip r:embed="rId3"/>
                      <a:stretch>
                        <a:fillRect/>
                      </a:stretch>
                    </p:blipFill>
                    <p:spPr>
                      <a:xfrm>
                        <a:off x="2590192" y="1447800"/>
                        <a:ext cx="9149371" cy="5170488"/>
                      </a:xfrm>
                      <a:prstGeom prst="rect">
                        <a:avLst/>
                      </a:prstGeom>
                    </p:spPr>
                  </p:pic>
                </p:oleObj>
              </mc:Fallback>
            </mc:AlternateContent>
          </a:graphicData>
        </a:graphic>
      </p:graphicFrame>
    </p:spTree>
    <p:extLst>
      <p:ext uri="{BB962C8B-B14F-4D97-AF65-F5344CB8AC3E}">
        <p14:creationId xmlns:p14="http://schemas.microsoft.com/office/powerpoint/2010/main" val="214892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9516D78B-6996-42AE-A7EE-60172209AA53}"/>
              </a:ext>
            </a:extLst>
          </p:cNvPr>
          <p:cNvGraphicFramePr>
            <a:graphicFrameLocks noChangeAspect="1"/>
          </p:cNvGraphicFramePr>
          <p:nvPr/>
        </p:nvGraphicFramePr>
        <p:xfrm>
          <a:off x="2645833" y="1457892"/>
          <a:ext cx="9093730" cy="5195321"/>
        </p:xfrm>
        <a:graphic>
          <a:graphicData uri="http://schemas.openxmlformats.org/presentationml/2006/ole">
            <mc:AlternateContent xmlns:mc="http://schemas.openxmlformats.org/markup-compatibility/2006">
              <mc:Choice xmlns:v="urn:schemas-microsoft-com:vml" Requires="v">
                <p:oleObj name="Bitmap Image" r:id="rId2" imgW="11287080" imgH="6448320" progId="Paint.Picture">
                  <p:embed/>
                </p:oleObj>
              </mc:Choice>
              <mc:Fallback>
                <p:oleObj name="Bitmap Image" r:id="rId2" imgW="11287080" imgH="6448320" progId="Paint.Picture">
                  <p:embed/>
                  <p:pic>
                    <p:nvPicPr>
                      <p:cNvPr id="4" name="Object 3">
                        <a:extLst>
                          <a:ext uri="{FF2B5EF4-FFF2-40B4-BE49-F238E27FC236}">
                            <a16:creationId xmlns:a16="http://schemas.microsoft.com/office/drawing/2014/main" id="{9516D78B-6996-42AE-A7EE-60172209AA53}"/>
                          </a:ext>
                        </a:extLst>
                      </p:cNvPr>
                      <p:cNvPicPr/>
                      <p:nvPr/>
                    </p:nvPicPr>
                    <p:blipFill>
                      <a:blip r:embed="rId3"/>
                      <a:stretch>
                        <a:fillRect/>
                      </a:stretch>
                    </p:blipFill>
                    <p:spPr>
                      <a:xfrm>
                        <a:off x="2645833" y="1457892"/>
                        <a:ext cx="9093730" cy="5195321"/>
                      </a:xfrm>
                      <a:prstGeom prst="rect">
                        <a:avLst/>
                      </a:prstGeom>
                    </p:spPr>
                  </p:pic>
                </p:oleObj>
              </mc:Fallback>
            </mc:AlternateContent>
          </a:graphicData>
        </a:graphic>
      </p:graphicFrame>
    </p:spTree>
    <p:extLst>
      <p:ext uri="{BB962C8B-B14F-4D97-AF65-F5344CB8AC3E}">
        <p14:creationId xmlns:p14="http://schemas.microsoft.com/office/powerpoint/2010/main" val="187969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Testing the layout</a:t>
            </a:r>
          </a:p>
        </p:txBody>
      </p:sp>
      <p:graphicFrame>
        <p:nvGraphicFramePr>
          <p:cNvPr id="3" name="Object 2">
            <a:extLst>
              <a:ext uri="{FF2B5EF4-FFF2-40B4-BE49-F238E27FC236}">
                <a16:creationId xmlns:a16="http://schemas.microsoft.com/office/drawing/2014/main" id="{487CA45D-F515-4A94-AA8C-8250FFF9742A}"/>
              </a:ext>
            </a:extLst>
          </p:cNvPr>
          <p:cNvGraphicFramePr>
            <a:graphicFrameLocks noChangeAspect="1"/>
          </p:cNvGraphicFramePr>
          <p:nvPr/>
        </p:nvGraphicFramePr>
        <p:xfrm>
          <a:off x="263737" y="1714361"/>
          <a:ext cx="8443389" cy="4807480"/>
        </p:xfrm>
        <a:graphic>
          <a:graphicData uri="http://schemas.openxmlformats.org/presentationml/2006/ole">
            <mc:AlternateContent xmlns:mc="http://schemas.openxmlformats.org/markup-compatibility/2006">
              <mc:Choice xmlns:v="urn:schemas-microsoft-com:vml" Requires="v">
                <p:oleObj name="Bitmap Image" r:id="rId2" imgW="11280600" imgH="6423120" progId="Paint.Picture">
                  <p:embed/>
                </p:oleObj>
              </mc:Choice>
              <mc:Fallback>
                <p:oleObj name="Bitmap Image" r:id="rId2" imgW="11280600" imgH="6423120" progId="Paint.Picture">
                  <p:embed/>
                  <p:pic>
                    <p:nvPicPr>
                      <p:cNvPr id="3" name="Object 2">
                        <a:extLst>
                          <a:ext uri="{FF2B5EF4-FFF2-40B4-BE49-F238E27FC236}">
                            <a16:creationId xmlns:a16="http://schemas.microsoft.com/office/drawing/2014/main" id="{487CA45D-F515-4A94-AA8C-8250FFF9742A}"/>
                          </a:ext>
                        </a:extLst>
                      </p:cNvPr>
                      <p:cNvPicPr/>
                      <p:nvPr/>
                    </p:nvPicPr>
                    <p:blipFill>
                      <a:blip r:embed="rId3"/>
                      <a:stretch>
                        <a:fillRect/>
                      </a:stretch>
                    </p:blipFill>
                    <p:spPr>
                      <a:xfrm>
                        <a:off x="263737" y="1714361"/>
                        <a:ext cx="8443389" cy="4807480"/>
                      </a:xfrm>
                      <a:prstGeom prst="rect">
                        <a:avLst/>
                      </a:prstGeom>
                    </p:spPr>
                  </p:pic>
                </p:oleObj>
              </mc:Fallback>
            </mc:AlternateContent>
          </a:graphicData>
        </a:graphic>
      </p:graphicFrame>
      <p:pic>
        <p:nvPicPr>
          <p:cNvPr id="5" name="Picture 5" descr="Graphical user interface, application&#10;&#10;Description automatically generated">
            <a:extLst>
              <a:ext uri="{FF2B5EF4-FFF2-40B4-BE49-F238E27FC236}">
                <a16:creationId xmlns:a16="http://schemas.microsoft.com/office/drawing/2014/main" id="{E81E3241-9207-496E-AC16-0D1B0467C855}"/>
              </a:ext>
            </a:extLst>
          </p:cNvPr>
          <p:cNvPicPr>
            <a:picLocks noChangeAspect="1"/>
          </p:cNvPicPr>
          <p:nvPr/>
        </p:nvPicPr>
        <p:blipFill>
          <a:blip r:embed="rId4"/>
          <a:stretch>
            <a:fillRect/>
          </a:stretch>
        </p:blipFill>
        <p:spPr>
          <a:xfrm>
            <a:off x="8934138" y="2296381"/>
            <a:ext cx="2743200" cy="3327042"/>
          </a:xfrm>
          <a:prstGeom prst="rect">
            <a:avLst/>
          </a:prstGeom>
        </p:spPr>
      </p:pic>
    </p:spTree>
    <p:extLst>
      <p:ext uri="{BB962C8B-B14F-4D97-AF65-F5344CB8AC3E}">
        <p14:creationId xmlns:p14="http://schemas.microsoft.com/office/powerpoint/2010/main" val="1351674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Design guidelines (for layouts)</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4340499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Worksheet naming and location</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lstStyle/>
          <a:p>
            <a:r>
              <a:rPr lang="en-GB" dirty="0"/>
              <a:t>Locate worksheets in the order you think will be most useful for users so that they do not have to scroll when using the report.</a:t>
            </a:r>
          </a:p>
          <a:p>
            <a:endParaRPr lang="en-GB" dirty="0"/>
          </a:p>
          <a:p>
            <a:r>
              <a:rPr lang="en-GB" dirty="0"/>
              <a:t>Good worksheet names help users quickly get an overview of the information they can obtain by navigating to the worksheet.</a:t>
            </a:r>
          </a:p>
          <a:p>
            <a:endParaRPr lang="en-GB" dirty="0"/>
          </a:p>
          <a:p>
            <a:r>
              <a:rPr lang="en-GB" dirty="0"/>
              <a:t>An Excel worksheet can be up to 31 characters long. </a:t>
            </a:r>
            <a:endParaRPr lang="en-DK" dirty="0"/>
          </a:p>
        </p:txBody>
      </p:sp>
    </p:spTree>
    <p:extLst>
      <p:ext uri="{BB962C8B-B14F-4D97-AF65-F5344CB8AC3E}">
        <p14:creationId xmlns:p14="http://schemas.microsoft.com/office/powerpoint/2010/main" val="198363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2EA7-E399-48DF-BF5B-47C7DD045CE7}"/>
              </a:ext>
            </a:extLst>
          </p:cNvPr>
          <p:cNvSpPr>
            <a:spLocks noGrp="1"/>
          </p:cNvSpPr>
          <p:nvPr>
            <p:ph type="title"/>
          </p:nvPr>
        </p:nvSpPr>
        <p:spPr/>
        <p:txBody>
          <a:bodyPr/>
          <a:lstStyle/>
          <a:p>
            <a:r>
              <a:rPr lang="en-US"/>
              <a:t>Excel layouts in </a:t>
            </a:r>
            <a:r>
              <a:rPr lang="en-US" strike="sngStrike"/>
              <a:t>four</a:t>
            </a:r>
            <a:r>
              <a:rPr lang="en-US"/>
              <a:t> five bullets</a:t>
            </a:r>
          </a:p>
        </p:txBody>
      </p:sp>
      <p:sp>
        <p:nvSpPr>
          <p:cNvPr id="3" name="Content Placeholder 2">
            <a:extLst>
              <a:ext uri="{FF2B5EF4-FFF2-40B4-BE49-F238E27FC236}">
                <a16:creationId xmlns:a16="http://schemas.microsoft.com/office/drawing/2014/main" id="{FB9DC008-2DD6-4ADF-A12C-80FD54175CE8}"/>
              </a:ext>
            </a:extLst>
          </p:cNvPr>
          <p:cNvSpPr>
            <a:spLocks noGrp="1"/>
          </p:cNvSpPr>
          <p:nvPr>
            <p:ph idx="1"/>
          </p:nvPr>
        </p:nvSpPr>
        <p:spPr/>
        <p:txBody>
          <a:bodyPr>
            <a:normAutofit fontScale="92500" lnSpcReduction="20000"/>
          </a:bodyPr>
          <a:lstStyle/>
          <a:p>
            <a:r>
              <a:rPr lang="en-US" b="1"/>
              <a:t>Interactive reports </a:t>
            </a:r>
            <a:r>
              <a:rPr lang="en-US"/>
              <a:t>(Not designed for print, One report can serve multiple purposes (filtering, sorting, slicers, pivot tables etc.)</a:t>
            </a:r>
          </a:p>
          <a:p>
            <a:r>
              <a:rPr lang="en-US" b="1" err="1"/>
              <a:t>Mix’n’match</a:t>
            </a:r>
            <a:r>
              <a:rPr lang="en-US" b="1"/>
              <a:t> data</a:t>
            </a:r>
            <a:r>
              <a:rPr lang="en-US"/>
              <a:t> from Business Central with other data sources (</a:t>
            </a:r>
            <a:r>
              <a:rPr lang="en-US" err="1"/>
              <a:t>Sharepoint</a:t>
            </a:r>
            <a:r>
              <a:rPr lang="en-US"/>
              <a:t> lists, On-premises databases, files, APIs, …) using Power Query in the report.</a:t>
            </a:r>
          </a:p>
          <a:p>
            <a:r>
              <a:rPr lang="en-US" b="1"/>
              <a:t>Use built-in, advanced Excel features to do post-processing </a:t>
            </a:r>
            <a:r>
              <a:rPr lang="en-US"/>
              <a:t>on rendered reports (triggering automation flows, Organization data types, What-if analyses, Forecast sheet, Analyze Data with support for natural language)</a:t>
            </a:r>
          </a:p>
          <a:p>
            <a:r>
              <a:rPr lang="en-US" b="1"/>
              <a:t>Rich collaboration capabilities</a:t>
            </a:r>
            <a:r>
              <a:rPr lang="en-US"/>
              <a:t> (commenting, sharing, protecting for certain audiences) on a report</a:t>
            </a:r>
          </a:p>
          <a:p>
            <a:r>
              <a:rPr lang="en-US" b="1"/>
              <a:t>Democratized design experience</a:t>
            </a:r>
            <a:r>
              <a:rPr lang="en-US"/>
              <a:t> - allowing end users to participate more actively in layout creation. Contains the raw data, making it possible for a user to understand how the report works</a:t>
            </a:r>
          </a:p>
        </p:txBody>
      </p:sp>
    </p:spTree>
    <p:extLst>
      <p:ext uri="{BB962C8B-B14F-4D97-AF65-F5344CB8AC3E}">
        <p14:creationId xmlns:p14="http://schemas.microsoft.com/office/powerpoint/2010/main" val="2152013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One or multiple worksheets?</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normAutofit fontScale="92500" lnSpcReduction="20000"/>
          </a:bodyPr>
          <a:lstStyle/>
          <a:p>
            <a:r>
              <a:rPr lang="en-GB" dirty="0"/>
              <a:t>In contrast to a report designed for print or pdf, an Excel report typically consists of multiple worksheets, each of which is designed for a different purpose. Some common types of worksheets are</a:t>
            </a:r>
          </a:p>
          <a:p>
            <a:pPr lvl="1"/>
            <a:r>
              <a:rPr lang="en-GB" dirty="0"/>
              <a:t>Overview dashboard</a:t>
            </a:r>
          </a:p>
          <a:p>
            <a:pPr lvl="1"/>
            <a:r>
              <a:rPr lang="en-GB" dirty="0"/>
              <a:t>Pivot table</a:t>
            </a:r>
          </a:p>
          <a:p>
            <a:pPr lvl="1"/>
            <a:r>
              <a:rPr lang="en-GB" dirty="0"/>
              <a:t>Table</a:t>
            </a:r>
          </a:p>
          <a:p>
            <a:pPr lvl="1"/>
            <a:r>
              <a:rPr lang="en-GB" dirty="0"/>
              <a:t>Print-friendly</a:t>
            </a:r>
          </a:p>
          <a:p>
            <a:pPr lvl="1"/>
            <a:r>
              <a:rPr lang="en-GB" dirty="0"/>
              <a:t>About the report</a:t>
            </a:r>
          </a:p>
          <a:p>
            <a:endParaRPr lang="en-GB" dirty="0"/>
          </a:p>
          <a:p>
            <a:r>
              <a:rPr lang="en-GB" dirty="0"/>
              <a:t>There is no technical limit to the number of worksheets in a report, but users probably prefer a number they can </a:t>
            </a:r>
            <a:r>
              <a:rPr lang="en-GB" dirty="0" err="1"/>
              <a:t>overskue</a:t>
            </a:r>
            <a:r>
              <a:rPr lang="en-GB" dirty="0"/>
              <a:t>. </a:t>
            </a:r>
          </a:p>
          <a:p>
            <a:r>
              <a:rPr lang="en-GB" dirty="0"/>
              <a:t>Note that you can develop multiple Excel layouts for the same report, so maybe design for a specific persona.</a:t>
            </a:r>
            <a:endParaRPr lang="en-DK" dirty="0"/>
          </a:p>
        </p:txBody>
      </p:sp>
    </p:spTree>
    <p:extLst>
      <p:ext uri="{BB962C8B-B14F-4D97-AF65-F5344CB8AC3E}">
        <p14:creationId xmlns:p14="http://schemas.microsoft.com/office/powerpoint/2010/main" val="2730818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One or multiple worksheets?</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normAutofit fontScale="92500" lnSpcReduction="20000"/>
          </a:bodyPr>
          <a:lstStyle/>
          <a:p>
            <a:r>
              <a:rPr lang="en-GB" dirty="0"/>
              <a:t>In contrast to a report designed for print or pdf, an Excel report typically consists of multiple worksheets, each of which is designed for a different purpose. Some common types of worksheets are</a:t>
            </a:r>
          </a:p>
          <a:p>
            <a:pPr lvl="1"/>
            <a:r>
              <a:rPr lang="en-GB" dirty="0"/>
              <a:t>Overview dashboard</a:t>
            </a:r>
          </a:p>
          <a:p>
            <a:pPr lvl="1"/>
            <a:r>
              <a:rPr lang="en-GB" dirty="0"/>
              <a:t>Pivot table</a:t>
            </a:r>
          </a:p>
          <a:p>
            <a:pPr lvl="1"/>
            <a:r>
              <a:rPr lang="en-GB" dirty="0"/>
              <a:t>Table</a:t>
            </a:r>
          </a:p>
          <a:p>
            <a:pPr lvl="1"/>
            <a:r>
              <a:rPr lang="en-GB" dirty="0"/>
              <a:t>Print-friendly</a:t>
            </a:r>
          </a:p>
          <a:p>
            <a:pPr lvl="1"/>
            <a:r>
              <a:rPr lang="en-GB" dirty="0"/>
              <a:t>About the report</a:t>
            </a:r>
          </a:p>
          <a:p>
            <a:endParaRPr lang="en-GB" dirty="0"/>
          </a:p>
          <a:p>
            <a:r>
              <a:rPr lang="en-GB" dirty="0"/>
              <a:t>There is no technical limit to the number of worksheets in a report, but users probably prefer a number they can </a:t>
            </a:r>
            <a:r>
              <a:rPr lang="en-GB" dirty="0" err="1"/>
              <a:t>overskue</a:t>
            </a:r>
            <a:r>
              <a:rPr lang="en-GB" dirty="0"/>
              <a:t>. </a:t>
            </a:r>
          </a:p>
          <a:p>
            <a:r>
              <a:rPr lang="en-GB" dirty="0"/>
              <a:t>Note that you can develop multiple Excel layouts for the same report, so maybe design for a specific persona.</a:t>
            </a:r>
            <a:endParaRPr lang="en-DK" dirty="0"/>
          </a:p>
        </p:txBody>
      </p:sp>
    </p:spTree>
    <p:extLst>
      <p:ext uri="{BB962C8B-B14F-4D97-AF65-F5344CB8AC3E}">
        <p14:creationId xmlns:p14="http://schemas.microsoft.com/office/powerpoint/2010/main" val="3128796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Using Office themes</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a:xfrm>
            <a:off x="838200" y="1825626"/>
            <a:ext cx="10515600" cy="618170"/>
          </a:xfrm>
        </p:spPr>
        <p:txBody>
          <a:bodyPr>
            <a:normAutofit/>
          </a:bodyPr>
          <a:lstStyle/>
          <a:p>
            <a:r>
              <a:rPr lang="en-GB" dirty="0"/>
              <a:t>Consider using a common Office theme for all your layouts.</a:t>
            </a:r>
          </a:p>
        </p:txBody>
      </p:sp>
      <p:pic>
        <p:nvPicPr>
          <p:cNvPr id="5" name="Picture 4">
            <a:extLst>
              <a:ext uri="{FF2B5EF4-FFF2-40B4-BE49-F238E27FC236}">
                <a16:creationId xmlns:a16="http://schemas.microsoft.com/office/drawing/2014/main" id="{C2D1F9F6-1945-F19E-031B-EA1C53A25A78}"/>
              </a:ext>
            </a:extLst>
          </p:cNvPr>
          <p:cNvPicPr>
            <a:picLocks noChangeAspect="1"/>
          </p:cNvPicPr>
          <p:nvPr/>
        </p:nvPicPr>
        <p:blipFill>
          <a:blip r:embed="rId2"/>
          <a:stretch>
            <a:fillRect/>
          </a:stretch>
        </p:blipFill>
        <p:spPr>
          <a:xfrm>
            <a:off x="6380658" y="2759385"/>
            <a:ext cx="4902244" cy="3848738"/>
          </a:xfrm>
          <a:prstGeom prst="rect">
            <a:avLst/>
          </a:prstGeom>
        </p:spPr>
      </p:pic>
    </p:spTree>
    <p:extLst>
      <p:ext uri="{BB962C8B-B14F-4D97-AF65-F5344CB8AC3E}">
        <p14:creationId xmlns:p14="http://schemas.microsoft.com/office/powerpoint/2010/main" val="835997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Developer experience</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9292338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4F1E4-C01A-98CF-4096-9E3FCCD70D72}"/>
              </a:ext>
            </a:extLst>
          </p:cNvPr>
          <p:cNvSpPr>
            <a:spLocks noGrp="1"/>
          </p:cNvSpPr>
          <p:nvPr>
            <p:ph type="title"/>
          </p:nvPr>
        </p:nvSpPr>
        <p:spPr/>
        <p:txBody>
          <a:bodyPr>
            <a:normAutofit/>
          </a:bodyPr>
          <a:lstStyle/>
          <a:p>
            <a:r>
              <a:rPr lang="en-US"/>
              <a:t>Developer experience</a:t>
            </a:r>
          </a:p>
        </p:txBody>
      </p:sp>
      <p:pic>
        <p:nvPicPr>
          <p:cNvPr id="6" name="Picture 5">
            <a:extLst>
              <a:ext uri="{FF2B5EF4-FFF2-40B4-BE49-F238E27FC236}">
                <a16:creationId xmlns:a16="http://schemas.microsoft.com/office/drawing/2014/main" id="{22EE74B2-3C21-4BD8-2FE9-9A52514DAAFD}"/>
              </a:ext>
            </a:extLst>
          </p:cNvPr>
          <p:cNvPicPr>
            <a:picLocks noChangeAspect="1"/>
          </p:cNvPicPr>
          <p:nvPr/>
        </p:nvPicPr>
        <p:blipFill>
          <a:blip r:embed="rId2"/>
          <a:stretch>
            <a:fillRect/>
          </a:stretch>
        </p:blipFill>
        <p:spPr>
          <a:xfrm>
            <a:off x="6952118" y="1011198"/>
            <a:ext cx="4349974" cy="5524784"/>
          </a:xfrm>
          <a:prstGeom prst="rect">
            <a:avLst/>
          </a:prstGeom>
        </p:spPr>
      </p:pic>
      <p:sp>
        <p:nvSpPr>
          <p:cNvPr id="7" name="Text Placeholder 2">
            <a:extLst>
              <a:ext uri="{FF2B5EF4-FFF2-40B4-BE49-F238E27FC236}">
                <a16:creationId xmlns:a16="http://schemas.microsoft.com/office/drawing/2014/main" id="{0D03CB63-0500-B6F6-8324-C3422DEBF07B}"/>
              </a:ext>
            </a:extLst>
          </p:cNvPr>
          <p:cNvSpPr txBox="1">
            <a:spLocks/>
          </p:cNvSpPr>
          <p:nvPr/>
        </p:nvSpPr>
        <p:spPr>
          <a:xfrm>
            <a:off x="987228" y="1434369"/>
            <a:ext cx="5542881" cy="423410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reate a Report Object in AL.</a:t>
            </a:r>
          </a:p>
          <a:p>
            <a:endParaRPr lang="en-US" dirty="0"/>
          </a:p>
          <a:p>
            <a:r>
              <a:rPr lang="en-US" dirty="0"/>
              <a:t>Define your report dataset.</a:t>
            </a:r>
          </a:p>
          <a:p>
            <a:endParaRPr lang="en-US" dirty="0"/>
          </a:p>
          <a:p>
            <a:r>
              <a:rPr lang="en-US" dirty="0"/>
              <a:t>Provide a path to your Excel Layout.</a:t>
            </a:r>
          </a:p>
          <a:p>
            <a:endParaRPr lang="en-US" dirty="0"/>
          </a:p>
          <a:p>
            <a:r>
              <a:rPr lang="en-US" dirty="0"/>
              <a:t>Publish your report extension.</a:t>
            </a:r>
          </a:p>
        </p:txBody>
      </p:sp>
    </p:spTree>
    <p:extLst>
      <p:ext uri="{BB962C8B-B14F-4D97-AF65-F5344CB8AC3E}">
        <p14:creationId xmlns:p14="http://schemas.microsoft.com/office/powerpoint/2010/main" val="27090441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What if I change the dataset definition?</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lstStyle/>
          <a:p>
            <a:r>
              <a:rPr lang="en-US" dirty="0"/>
              <a:t>Easiest way to change your layouts in the AL projects is simply to add the new fields (metadata) to the data contract worksheet</a:t>
            </a:r>
            <a:endParaRPr lang="en-DK" dirty="0"/>
          </a:p>
        </p:txBody>
      </p:sp>
    </p:spTree>
    <p:extLst>
      <p:ext uri="{BB962C8B-B14F-4D97-AF65-F5344CB8AC3E}">
        <p14:creationId xmlns:p14="http://schemas.microsoft.com/office/powerpoint/2010/main" val="27878905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OneDrive Integration</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0789702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AA4865-2CCD-1182-217F-A5F80125786D}"/>
              </a:ext>
            </a:extLst>
          </p:cNvPr>
          <p:cNvSpPr>
            <a:spLocks noGrp="1"/>
          </p:cNvSpPr>
          <p:nvPr>
            <p:ph type="body" sz="quarter" idx="12"/>
          </p:nvPr>
        </p:nvSpPr>
        <p:spPr>
          <a:xfrm>
            <a:off x="873760" y="2091880"/>
            <a:ext cx="3972560" cy="3477875"/>
          </a:xfrm>
        </p:spPr>
        <p:txBody>
          <a:bodyPr/>
          <a:lstStyle/>
          <a:p>
            <a:r>
              <a:rPr lang="en-US" sz="3200"/>
              <a:t>Unlocked actions</a:t>
            </a:r>
          </a:p>
          <a:p>
            <a:pPr marL="342900" indent="-342900">
              <a:buFont typeface="Arial" panose="020B0604020202020204" pitchFamily="34" charset="0"/>
              <a:buChar char="•"/>
            </a:pPr>
            <a:r>
              <a:rPr lang="en-US" sz="2000"/>
              <a:t>Open in OneDrive</a:t>
            </a:r>
          </a:p>
          <a:p>
            <a:pPr marL="342900" indent="-342900">
              <a:buFont typeface="Arial" panose="020B0604020202020204" pitchFamily="34" charset="0"/>
              <a:buChar char="•"/>
            </a:pPr>
            <a:r>
              <a:rPr lang="en-US" sz="2000"/>
              <a:t>Share window</a:t>
            </a:r>
          </a:p>
          <a:p>
            <a:endParaRPr lang="en-US"/>
          </a:p>
          <a:p>
            <a:r>
              <a:rPr lang="en-US" sz="3200"/>
              <a:t>Example features</a:t>
            </a:r>
          </a:p>
          <a:p>
            <a:pPr marL="342900" indent="-342900">
              <a:buFont typeface="Arial" panose="020B0604020202020204" pitchFamily="34" charset="0"/>
              <a:buChar char="•"/>
            </a:pPr>
            <a:r>
              <a:rPr lang="en-US" sz="2000"/>
              <a:t>Report inbox</a:t>
            </a:r>
          </a:p>
          <a:p>
            <a:pPr marL="342900" indent="-342900">
              <a:buFont typeface="Arial" panose="020B0604020202020204" pitchFamily="34" charset="0"/>
              <a:buChar char="•"/>
            </a:pPr>
            <a:r>
              <a:rPr lang="en-US" sz="2000"/>
              <a:t>Attachments </a:t>
            </a:r>
            <a:r>
              <a:rPr lang="en-US" sz="2000" err="1"/>
              <a:t>factbox</a:t>
            </a:r>
            <a:endParaRPr lang="en-US" sz="2000"/>
          </a:p>
          <a:p>
            <a:pPr marL="342900" indent="-342900">
              <a:buFont typeface="Arial" panose="020B0604020202020204" pitchFamily="34" charset="0"/>
              <a:buChar char="•"/>
            </a:pPr>
            <a:r>
              <a:rPr lang="en-US" sz="2000"/>
              <a:t>Incoming documents</a:t>
            </a:r>
          </a:p>
          <a:p>
            <a:pPr marL="342900" indent="-342900">
              <a:buFont typeface="Arial" panose="020B0604020202020204" pitchFamily="34" charset="0"/>
              <a:buChar char="•"/>
            </a:pPr>
            <a:r>
              <a:rPr lang="en-US" sz="2000"/>
              <a:t>Sales Budgets</a:t>
            </a:r>
          </a:p>
          <a:p>
            <a:pPr marL="342900" indent="-342900">
              <a:buFont typeface="Arial" panose="020B0604020202020204" pitchFamily="34" charset="0"/>
              <a:buChar char="•"/>
            </a:pPr>
            <a:r>
              <a:rPr lang="en-US" sz="2000"/>
              <a:t>Customizations and add-ons</a:t>
            </a:r>
          </a:p>
        </p:txBody>
      </p:sp>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5982564" y="1072896"/>
            <a:ext cx="5426760" cy="4992624"/>
          </a:xfrm>
          <a:prstGeom prst="rect">
            <a:avLst/>
          </a:prstGeom>
          <a:noFill/>
          <a:effectLst>
            <a:outerShdw blurRad="63500" sx="102000" sy="102000" algn="ctr" rotWithShape="0">
              <a:prstClr val="black">
                <a:alpha val="40000"/>
              </a:prstClr>
            </a:outerShdw>
          </a:effectLst>
        </p:spPr>
      </p:pic>
      <p:sp>
        <p:nvSpPr>
          <p:cNvPr id="9" name="Rectangle 8">
            <a:extLst>
              <a:ext uri="{FF2B5EF4-FFF2-40B4-BE49-F238E27FC236}">
                <a16:creationId xmlns:a16="http://schemas.microsoft.com/office/drawing/2014/main" id="{27709495-68EF-DD88-4B7C-26261436DB1C}"/>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3850935A-F6CB-D4B3-841B-CEF35131DC90}"/>
              </a:ext>
            </a:extLst>
          </p:cNvPr>
          <p:cNvCxnSpPr>
            <a:stCxn id="9" idx="1"/>
          </p:cNvCxnSpPr>
          <p:nvPr/>
        </p:nvCxnSpPr>
        <p:spPr>
          <a:xfrm flipH="1">
            <a:off x="4399280" y="3304540"/>
            <a:ext cx="173568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2" name="Title 3">
            <a:extLst>
              <a:ext uri="{FF2B5EF4-FFF2-40B4-BE49-F238E27FC236}">
                <a16:creationId xmlns:a16="http://schemas.microsoft.com/office/drawing/2014/main" id="{9C542B0E-2535-1035-BED3-8F34DE326263}"/>
              </a:ext>
            </a:extLst>
          </p:cNvPr>
          <p:cNvSpPr>
            <a:spLocks noGrp="1"/>
          </p:cNvSpPr>
          <p:nvPr>
            <p:ph type="title"/>
          </p:nvPr>
        </p:nvSpPr>
        <p:spPr>
          <a:xfrm>
            <a:off x="613663" y="0"/>
            <a:ext cx="4089754" cy="1661993"/>
          </a:xfrm>
        </p:spPr>
        <p:txBody>
          <a:bodyPr/>
          <a:lstStyle/>
          <a:p>
            <a:r>
              <a:rPr lang="en-US" dirty="0"/>
              <a:t>Configure OneDrive Integration</a:t>
            </a:r>
            <a:endParaRPr lang="LID4096" dirty="0"/>
          </a:p>
        </p:txBody>
      </p:sp>
    </p:spTree>
    <p:extLst>
      <p:ext uri="{BB962C8B-B14F-4D97-AF65-F5344CB8AC3E}">
        <p14:creationId xmlns:p14="http://schemas.microsoft.com/office/powerpoint/2010/main" val="304495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xEl>
                                              <p:pRg st="0" end="0"/>
                                            </p:txEl>
                                          </p:spTgt>
                                        </p:tgtEl>
                                      </p:cBhvr>
                                    </p:animEffect>
                                    <p:set>
                                      <p:cBhvr>
                                        <p:cTn id="7" dur="1" fill="hold">
                                          <p:stCondLst>
                                            <p:cond delay="499"/>
                                          </p:stCondLst>
                                        </p:cTn>
                                        <p:tgtEl>
                                          <p:spTgt spid="6">
                                            <p:txEl>
                                              <p:pRg st="0" end="0"/>
                                            </p:txEl>
                                          </p:spTgt>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6">
                                            <p:txEl>
                                              <p:pRg st="1" end="1"/>
                                            </p:txEl>
                                          </p:spTgt>
                                        </p:tgtEl>
                                      </p:cBhvr>
                                    </p:animEffect>
                                    <p:set>
                                      <p:cBhvr>
                                        <p:cTn id="10" dur="1" fill="hold">
                                          <p:stCondLst>
                                            <p:cond delay="499"/>
                                          </p:stCondLst>
                                        </p:cTn>
                                        <p:tgtEl>
                                          <p:spTgt spid="6">
                                            <p:txEl>
                                              <p:pRg st="1" end="1"/>
                                            </p:txEl>
                                          </p:spTgt>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xEl>
                                              <p:pRg st="2" end="2"/>
                                            </p:txEl>
                                          </p:spTgt>
                                        </p:tgtEl>
                                      </p:cBhvr>
                                    </p:animEffect>
                                    <p:set>
                                      <p:cBhvr>
                                        <p:cTn id="13" dur="1" fill="hold">
                                          <p:stCondLst>
                                            <p:cond delay="499"/>
                                          </p:stCondLst>
                                        </p:cTn>
                                        <p:tgtEl>
                                          <p:spTgt spid="6">
                                            <p:txEl>
                                              <p:pRg st="2" end="2"/>
                                            </p:txEl>
                                          </p:spTgt>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6">
                                            <p:txEl>
                                              <p:pRg st="4" end="4"/>
                                            </p:txEl>
                                          </p:spTgt>
                                        </p:tgtEl>
                                      </p:cBhvr>
                                    </p:animEffect>
                                    <p:set>
                                      <p:cBhvr>
                                        <p:cTn id="16" dur="1" fill="hold">
                                          <p:stCondLst>
                                            <p:cond delay="499"/>
                                          </p:stCondLst>
                                        </p:cTn>
                                        <p:tgtEl>
                                          <p:spTgt spid="6">
                                            <p:txEl>
                                              <p:pRg st="4" end="4"/>
                                            </p:txEl>
                                          </p:spTgt>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6">
                                            <p:txEl>
                                              <p:pRg st="5" end="5"/>
                                            </p:txEl>
                                          </p:spTgt>
                                        </p:tgtEl>
                                      </p:cBhvr>
                                    </p:animEffect>
                                    <p:set>
                                      <p:cBhvr>
                                        <p:cTn id="19" dur="1" fill="hold">
                                          <p:stCondLst>
                                            <p:cond delay="499"/>
                                          </p:stCondLst>
                                        </p:cTn>
                                        <p:tgtEl>
                                          <p:spTgt spid="6">
                                            <p:txEl>
                                              <p:pRg st="5" end="5"/>
                                            </p:txEl>
                                          </p:spTgt>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6">
                                            <p:txEl>
                                              <p:pRg st="6" end="6"/>
                                            </p:txEl>
                                          </p:spTgt>
                                        </p:tgtEl>
                                      </p:cBhvr>
                                    </p:animEffect>
                                    <p:set>
                                      <p:cBhvr>
                                        <p:cTn id="22" dur="1" fill="hold">
                                          <p:stCondLst>
                                            <p:cond delay="499"/>
                                          </p:stCondLst>
                                        </p:cTn>
                                        <p:tgtEl>
                                          <p:spTgt spid="6">
                                            <p:txEl>
                                              <p:pRg st="6" end="6"/>
                                            </p:txEl>
                                          </p:spTgt>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6">
                                            <p:txEl>
                                              <p:pRg st="7" end="7"/>
                                            </p:txEl>
                                          </p:spTgt>
                                        </p:tgtEl>
                                      </p:cBhvr>
                                    </p:animEffect>
                                    <p:set>
                                      <p:cBhvr>
                                        <p:cTn id="25" dur="1" fill="hold">
                                          <p:stCondLst>
                                            <p:cond delay="499"/>
                                          </p:stCondLst>
                                        </p:cTn>
                                        <p:tgtEl>
                                          <p:spTgt spid="6">
                                            <p:txEl>
                                              <p:pRg st="7" end="7"/>
                                            </p:txEl>
                                          </p:spTgt>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6">
                                            <p:txEl>
                                              <p:pRg st="8" end="8"/>
                                            </p:txEl>
                                          </p:spTgt>
                                        </p:tgtEl>
                                      </p:cBhvr>
                                    </p:animEffect>
                                    <p:set>
                                      <p:cBhvr>
                                        <p:cTn id="28" dur="1" fill="hold">
                                          <p:stCondLst>
                                            <p:cond delay="499"/>
                                          </p:stCondLst>
                                        </p:cTn>
                                        <p:tgtEl>
                                          <p:spTgt spid="6">
                                            <p:txEl>
                                              <p:pRg st="8" end="8"/>
                                            </p:txEl>
                                          </p:spTgt>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6">
                                            <p:txEl>
                                              <p:pRg st="9" end="9"/>
                                            </p:txEl>
                                          </p:spTgt>
                                        </p:tgtEl>
                                      </p:cBhvr>
                                    </p:animEffect>
                                    <p:set>
                                      <p:cBhvr>
                                        <p:cTn id="31" dur="1" fill="hold">
                                          <p:stCondLst>
                                            <p:cond delay="499"/>
                                          </p:stCondLst>
                                        </p:cTn>
                                        <p:tgtEl>
                                          <p:spTgt spid="6">
                                            <p:txEl>
                                              <p:pRg st="9" end="9"/>
                                            </p:txEl>
                                          </p:spTgt>
                                        </p:tgtEl>
                                        <p:attrNameLst>
                                          <p:attrName>style.visibility</p:attrName>
                                        </p:attrNameLst>
                                      </p:cBhvr>
                                      <p:to>
                                        <p:strVal val="hidden"/>
                                      </p:to>
                                    </p:set>
                                  </p:childTnLst>
                                </p:cTn>
                              </p:par>
                              <p:par>
                                <p:cTn id="32" presetID="10" presetClass="exit" presetSubtype="0" fill="hold" nodeType="withEffect">
                                  <p:stCondLst>
                                    <p:cond delay="750"/>
                                  </p:stCondLst>
                                  <p:childTnLst>
                                    <p:animEffect transition="out" filter="fade">
                                      <p:cBhvr>
                                        <p:cTn id="33" dur="500"/>
                                        <p:tgtEl>
                                          <p:spTgt spid="11"/>
                                        </p:tgtEl>
                                      </p:cBhvr>
                                    </p:animEffect>
                                    <p:set>
                                      <p:cBhvr>
                                        <p:cTn id="34" dur="1" fill="hold">
                                          <p:stCondLst>
                                            <p:cond delay="499"/>
                                          </p:stCondLst>
                                        </p:cTn>
                                        <p:tgtEl>
                                          <p:spTgt spid="11"/>
                                        </p:tgtEl>
                                        <p:attrNameLst>
                                          <p:attrName>style.visibility</p:attrName>
                                        </p:attrNameLst>
                                      </p:cBhvr>
                                      <p:to>
                                        <p:strVal val="hidden"/>
                                      </p:to>
                                    </p:set>
                                  </p:childTnLst>
                                </p:cTn>
                              </p:par>
                              <p:par>
                                <p:cTn id="35" presetID="10" presetClass="exit" presetSubtype="0" fill="hold" grpId="0" nodeType="withEffect">
                                  <p:stCondLst>
                                    <p:cond delay="75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973684" y="1072896"/>
            <a:ext cx="5426760" cy="4992624"/>
          </a:xfrm>
          <a:prstGeom prst="rect">
            <a:avLst/>
          </a:prstGeom>
          <a:noFill/>
          <a:effectLst>
            <a:outerShdw blurRad="63500" sx="102000" sy="102000" algn="ctr" rotWithShape="0">
              <a:prstClr val="black">
                <a:alpha val="40000"/>
              </a:prstClr>
            </a:outerShdw>
          </a:effectLst>
        </p:spPr>
      </p:pic>
      <p:sp>
        <p:nvSpPr>
          <p:cNvPr id="4" name="Text Placeholder 5">
            <a:extLst>
              <a:ext uri="{FF2B5EF4-FFF2-40B4-BE49-F238E27FC236}">
                <a16:creationId xmlns:a16="http://schemas.microsoft.com/office/drawing/2014/main" id="{58771974-AE7F-A3A1-5499-6B85DB26A7A7}"/>
              </a:ext>
            </a:extLst>
          </p:cNvPr>
          <p:cNvSpPr>
            <a:spLocks noGrp="1"/>
          </p:cNvSpPr>
          <p:nvPr>
            <p:ph type="body" sz="quarter" idx="12"/>
          </p:nvPr>
        </p:nvSpPr>
        <p:spPr>
          <a:xfrm>
            <a:off x="7792720" y="3489960"/>
            <a:ext cx="3972560" cy="1415772"/>
          </a:xfrm>
        </p:spPr>
        <p:txBody>
          <a:bodyPr/>
          <a:lstStyle/>
          <a:p>
            <a:r>
              <a:rPr lang="en-US" sz="3200"/>
              <a:t>Affected features</a:t>
            </a:r>
          </a:p>
          <a:p>
            <a:pPr marL="342900" indent="-342900">
              <a:buFont typeface="Arial" panose="020B0604020202020204" pitchFamily="34" charset="0"/>
              <a:buChar char="•"/>
            </a:pPr>
            <a:r>
              <a:rPr lang="en-US" sz="2000"/>
              <a:t>Open in Excel</a:t>
            </a:r>
          </a:p>
          <a:p>
            <a:pPr marL="342900" indent="-342900">
              <a:buFont typeface="Arial" panose="020B0604020202020204" pitchFamily="34" charset="0"/>
              <a:buChar char="•"/>
            </a:pPr>
            <a:r>
              <a:rPr lang="en-US" sz="2000"/>
              <a:t>Edit in Excel</a:t>
            </a:r>
          </a:p>
          <a:p>
            <a:pPr marL="342900" indent="-342900">
              <a:buFont typeface="Arial" panose="020B0604020202020204" pitchFamily="34" charset="0"/>
              <a:buChar char="•"/>
            </a:pPr>
            <a:r>
              <a:rPr lang="en-US" sz="2000"/>
              <a:t>Report export (layouts </a:t>
            </a:r>
            <a:r>
              <a:rPr lang="en-US" sz="2000">
                <a:sym typeface="Wingdings" panose="05000000000000000000" pitchFamily="2" charset="2"/>
              </a:rPr>
              <a:t>)</a:t>
            </a:r>
          </a:p>
        </p:txBody>
      </p:sp>
      <p:grpSp>
        <p:nvGrpSpPr>
          <p:cNvPr id="12" name="Group 11">
            <a:extLst>
              <a:ext uri="{FF2B5EF4-FFF2-40B4-BE49-F238E27FC236}">
                <a16:creationId xmlns:a16="http://schemas.microsoft.com/office/drawing/2014/main" id="{570C94A5-1693-B831-CB70-02FDCABDC096}"/>
              </a:ext>
            </a:extLst>
          </p:cNvPr>
          <p:cNvGrpSpPr/>
          <p:nvPr/>
        </p:nvGrpSpPr>
        <p:grpSpPr>
          <a:xfrm rot="10800000">
            <a:off x="1117600" y="4272280"/>
            <a:ext cx="6329680" cy="340360"/>
            <a:chOff x="2458720" y="3134360"/>
            <a:chExt cx="6329680" cy="340360"/>
          </a:xfrm>
        </p:grpSpPr>
        <p:sp>
          <p:nvSpPr>
            <p:cNvPr id="5" name="Rectangle 4">
              <a:extLst>
                <a:ext uri="{FF2B5EF4-FFF2-40B4-BE49-F238E27FC236}">
                  <a16:creationId xmlns:a16="http://schemas.microsoft.com/office/drawing/2014/main" id="{254BF89C-D967-8F96-E4A1-D7850EDE96C4}"/>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74D070E-CE43-0EB7-E141-065DDB654A9C}"/>
                </a:ext>
              </a:extLst>
            </p:cNvPr>
            <p:cNvCxnSpPr>
              <a:cxnSpLocks/>
              <a:stCxn id="5" idx="1"/>
            </p:cNvCxnSpPr>
            <p:nvPr/>
          </p:nvCxnSpPr>
          <p:spPr>
            <a:xfrm rot="10800000">
              <a:off x="2458720" y="3304540"/>
              <a:ext cx="367624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78791739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Power BI integration</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137405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Layout experience</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2540764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D13C7-6831-D63E-70F5-B1D8C03C42B7}"/>
              </a:ext>
            </a:extLst>
          </p:cNvPr>
          <p:cNvSpPr>
            <a:spLocks noGrp="1"/>
          </p:cNvSpPr>
          <p:nvPr>
            <p:ph type="title"/>
          </p:nvPr>
        </p:nvSpPr>
        <p:spPr>
          <a:xfrm>
            <a:off x="588263" y="457200"/>
            <a:ext cx="11603737" cy="1107996"/>
          </a:xfrm>
        </p:spPr>
        <p:txBody>
          <a:bodyPr>
            <a:normAutofit fontScale="90000"/>
          </a:bodyPr>
          <a:lstStyle/>
          <a:p>
            <a:r>
              <a:rPr lang="en-US"/>
              <a:t>Ad hoc reporting - Excel Organization Data Types based on Business Central </a:t>
            </a:r>
            <a:endParaRPr lang="LID4096"/>
          </a:p>
        </p:txBody>
      </p:sp>
      <p:sp>
        <p:nvSpPr>
          <p:cNvPr id="3" name="Text Placeholder 2">
            <a:extLst>
              <a:ext uri="{FF2B5EF4-FFF2-40B4-BE49-F238E27FC236}">
                <a16:creationId xmlns:a16="http://schemas.microsoft.com/office/drawing/2014/main" id="{ACD9A70B-B4B9-9A75-3251-BBF7F36D08C5}"/>
              </a:ext>
            </a:extLst>
          </p:cNvPr>
          <p:cNvSpPr>
            <a:spLocks noGrp="1"/>
          </p:cNvSpPr>
          <p:nvPr>
            <p:ph type="body" sz="quarter" idx="11"/>
          </p:nvPr>
        </p:nvSpPr>
        <p:spPr>
          <a:xfrm>
            <a:off x="588263" y="2395538"/>
            <a:ext cx="3856737" cy="3949799"/>
          </a:xfrm>
        </p:spPr>
        <p:txBody>
          <a:bodyPr/>
          <a:lstStyle/>
          <a:p>
            <a:pPr marL="350043" indent="-342900">
              <a:spcBef>
                <a:spcPts val="500"/>
              </a:spcBef>
              <a:buFont typeface="Arial" panose="020B0604020202020204" pitchFamily="34" charset="0"/>
              <a:buChar char="•"/>
            </a:pPr>
            <a:r>
              <a:rPr lang="en-US" sz="2000"/>
              <a:t>Built in Excel data types expand with ones defined by you for your organization</a:t>
            </a:r>
          </a:p>
          <a:p>
            <a:pPr marL="350043" indent="-342900">
              <a:spcBef>
                <a:spcPts val="500"/>
              </a:spcBef>
              <a:buFont typeface="Arial" panose="020B0604020202020204" pitchFamily="34" charset="0"/>
              <a:buChar char="•"/>
            </a:pPr>
            <a:r>
              <a:rPr lang="en-US" sz="2000"/>
              <a:t>Based on shared Power BI dataset and “featured” tables (needs PRO license)</a:t>
            </a:r>
          </a:p>
          <a:p>
            <a:pPr marL="350043" indent="-342900">
              <a:spcBef>
                <a:spcPts val="500"/>
              </a:spcBef>
              <a:buFont typeface="Arial" panose="020B0604020202020204" pitchFamily="34" charset="0"/>
              <a:buChar char="•"/>
            </a:pPr>
            <a:r>
              <a:rPr lang="en-US" sz="2000"/>
              <a:t>Ideal for reference data: items, customers </a:t>
            </a:r>
            <a:r>
              <a:rPr lang="en-US" sz="2000" err="1"/>
              <a:t>etc</a:t>
            </a:r>
            <a:endParaRPr lang="en-US" sz="2000"/>
          </a:p>
          <a:p>
            <a:pPr marL="350043" indent="-342900">
              <a:spcBef>
                <a:spcPts val="500"/>
              </a:spcBef>
              <a:buFont typeface="Arial" panose="020B0604020202020204" pitchFamily="34" charset="0"/>
              <a:buChar char="•"/>
            </a:pPr>
            <a:r>
              <a:rPr lang="en-US" sz="2000"/>
              <a:t>Works for on-premises and cloud</a:t>
            </a:r>
          </a:p>
          <a:p>
            <a:pPr marL="350043" indent="-342900">
              <a:spcBef>
                <a:spcPts val="500"/>
              </a:spcBef>
              <a:buFont typeface="Arial" panose="020B0604020202020204" pitchFamily="34" charset="0"/>
              <a:buChar char="•"/>
            </a:pPr>
            <a:r>
              <a:rPr lang="en-US" sz="2000"/>
              <a:t>Auto data refresh - as requested in Power BI</a:t>
            </a:r>
          </a:p>
        </p:txBody>
      </p:sp>
      <p:sp>
        <p:nvSpPr>
          <p:cNvPr id="7" name="Rectangle 6">
            <a:extLst>
              <a:ext uri="{FF2B5EF4-FFF2-40B4-BE49-F238E27FC236}">
                <a16:creationId xmlns:a16="http://schemas.microsoft.com/office/drawing/2014/main" id="{0850FB4B-BBDB-7D98-2343-A5D290B30ACE}"/>
              </a:ext>
            </a:extLst>
          </p:cNvPr>
          <p:cNvSpPr/>
          <p:nvPr/>
        </p:nvSpPr>
        <p:spPr bwMode="auto">
          <a:xfrm>
            <a:off x="9972260" y="2630556"/>
            <a:ext cx="695739" cy="178905"/>
          </a:xfrm>
          <a:prstGeom prst="rect">
            <a:avLst/>
          </a:prstGeom>
          <a:noFill/>
          <a:ln w="3810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Content Placeholder 4">
            <a:extLst>
              <a:ext uri="{FF2B5EF4-FFF2-40B4-BE49-F238E27FC236}">
                <a16:creationId xmlns:a16="http://schemas.microsoft.com/office/drawing/2014/main" id="{740BB7B7-C94B-44C4-C1F3-5D056453CFFE}"/>
              </a:ext>
            </a:extLst>
          </p:cNvPr>
          <p:cNvSpPr>
            <a:spLocks noGrp="1"/>
          </p:cNvSpPr>
          <p:nvPr>
            <p:ph sz="quarter" idx="12"/>
          </p:nvPr>
        </p:nvSpPr>
        <p:spPr/>
        <p:txBody>
          <a:bodyPr/>
          <a:lstStyle/>
          <a:p>
            <a:endParaRPr lang="en-US"/>
          </a:p>
        </p:txBody>
      </p:sp>
      <p:pic>
        <p:nvPicPr>
          <p:cNvPr id="8" name="Picture 7">
            <a:extLst>
              <a:ext uri="{FF2B5EF4-FFF2-40B4-BE49-F238E27FC236}">
                <a16:creationId xmlns:a16="http://schemas.microsoft.com/office/drawing/2014/main" id="{2E9BAD8D-0F84-6870-0C41-9EA3545DDBE4}"/>
              </a:ext>
            </a:extLst>
          </p:cNvPr>
          <p:cNvPicPr>
            <a:picLocks noChangeAspect="1"/>
          </p:cNvPicPr>
          <p:nvPr/>
        </p:nvPicPr>
        <p:blipFill>
          <a:blip r:embed="rId2"/>
          <a:stretch>
            <a:fillRect/>
          </a:stretch>
        </p:blipFill>
        <p:spPr>
          <a:xfrm>
            <a:off x="5307711" y="1400889"/>
            <a:ext cx="6779513" cy="5169377"/>
          </a:xfrm>
          <a:prstGeom prst="rect">
            <a:avLst/>
          </a:prstGeom>
          <a:noFill/>
        </p:spPr>
      </p:pic>
    </p:spTree>
    <p:extLst>
      <p:ext uri="{BB962C8B-B14F-4D97-AF65-F5344CB8AC3E}">
        <p14:creationId xmlns:p14="http://schemas.microsoft.com/office/powerpoint/2010/main" val="136644561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Where does Excel layouts shine?</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494142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5FBE6-2F62-49DE-8E17-D874BF2CB403}"/>
              </a:ext>
            </a:extLst>
          </p:cNvPr>
          <p:cNvSpPr>
            <a:spLocks noGrp="1"/>
          </p:cNvSpPr>
          <p:nvPr>
            <p:ph type="title"/>
          </p:nvPr>
        </p:nvSpPr>
        <p:spPr/>
        <p:txBody>
          <a:bodyPr/>
          <a:lstStyle/>
          <a:p>
            <a:r>
              <a:rPr lang="en-US"/>
              <a:t>Use Excel layouts when</a:t>
            </a:r>
          </a:p>
        </p:txBody>
      </p:sp>
      <p:sp>
        <p:nvSpPr>
          <p:cNvPr id="3" name="Content Placeholder 2">
            <a:extLst>
              <a:ext uri="{FF2B5EF4-FFF2-40B4-BE49-F238E27FC236}">
                <a16:creationId xmlns:a16="http://schemas.microsoft.com/office/drawing/2014/main" id="{5DBB0A31-E89F-4B08-A9FC-4DE7320877F6}"/>
              </a:ext>
            </a:extLst>
          </p:cNvPr>
          <p:cNvSpPr>
            <a:spLocks noGrp="1"/>
          </p:cNvSpPr>
          <p:nvPr>
            <p:ph idx="1"/>
          </p:nvPr>
        </p:nvSpPr>
        <p:spPr/>
        <p:txBody>
          <a:bodyPr/>
          <a:lstStyle/>
          <a:p>
            <a:r>
              <a:rPr lang="en-US"/>
              <a:t>The report dataset fits Excel</a:t>
            </a:r>
          </a:p>
          <a:p>
            <a:pPr lvl="1"/>
            <a:r>
              <a:rPr lang="en-US"/>
              <a:t>Less aggregated is good</a:t>
            </a:r>
          </a:p>
          <a:p>
            <a:pPr lvl="1"/>
            <a:r>
              <a:rPr lang="en-US"/>
              <a:t>Less formatted data is good</a:t>
            </a:r>
          </a:p>
          <a:p>
            <a:pPr lvl="1"/>
            <a:endParaRPr lang="en-US"/>
          </a:p>
          <a:p>
            <a:r>
              <a:rPr lang="en-US"/>
              <a:t>The users want to interact with the data</a:t>
            </a:r>
          </a:p>
          <a:p>
            <a:endParaRPr lang="en-US"/>
          </a:p>
          <a:p>
            <a:r>
              <a:rPr lang="en-US"/>
              <a:t>A paper copy is not a priority</a:t>
            </a:r>
          </a:p>
        </p:txBody>
      </p:sp>
    </p:spTree>
    <p:extLst>
      <p:ext uri="{BB962C8B-B14F-4D97-AF65-F5344CB8AC3E}">
        <p14:creationId xmlns:p14="http://schemas.microsoft.com/office/powerpoint/2010/main" val="20775788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A62ED-1484-41B6-B1AB-EEF89FE0A09E}"/>
              </a:ext>
            </a:extLst>
          </p:cNvPr>
          <p:cNvSpPr>
            <a:spLocks noGrp="1"/>
          </p:cNvSpPr>
          <p:nvPr>
            <p:ph type="title"/>
          </p:nvPr>
        </p:nvSpPr>
        <p:spPr/>
        <p:txBody>
          <a:bodyPr/>
          <a:lstStyle/>
          <a:p>
            <a:r>
              <a:rPr lang="en-US"/>
              <a:t>Understanding the numbers and process</a:t>
            </a:r>
          </a:p>
        </p:txBody>
      </p:sp>
      <p:sp>
        <p:nvSpPr>
          <p:cNvPr id="3" name="Content Placeholder 2">
            <a:extLst>
              <a:ext uri="{FF2B5EF4-FFF2-40B4-BE49-F238E27FC236}">
                <a16:creationId xmlns:a16="http://schemas.microsoft.com/office/drawing/2014/main" id="{FF325275-FCDF-448B-8A82-28EB91E6EC62}"/>
              </a:ext>
            </a:extLst>
          </p:cNvPr>
          <p:cNvSpPr>
            <a:spLocks noGrp="1"/>
          </p:cNvSpPr>
          <p:nvPr>
            <p:ph idx="1"/>
          </p:nvPr>
        </p:nvSpPr>
        <p:spPr/>
        <p:txBody>
          <a:bodyPr/>
          <a:lstStyle/>
          <a:p>
            <a:r>
              <a:rPr lang="en-US"/>
              <a:t>A report with an Excel layout contain the raw data </a:t>
            </a:r>
          </a:p>
          <a:p>
            <a:pPr lvl="1"/>
            <a:r>
              <a:rPr lang="en-US"/>
              <a:t>aka data lineage (what data lies below this report)</a:t>
            </a:r>
          </a:p>
          <a:p>
            <a:endParaRPr lang="en-US"/>
          </a:p>
          <a:p>
            <a:r>
              <a:rPr lang="en-US"/>
              <a:t>Possible for a user to understand how the report works</a:t>
            </a:r>
          </a:p>
          <a:p>
            <a:pPr lvl="1"/>
            <a:r>
              <a:rPr lang="en-US"/>
              <a:t>aka process lineage (which steps were taken to transform the raw data to the results in the report)</a:t>
            </a:r>
          </a:p>
          <a:p>
            <a:endParaRPr lang="en-US"/>
          </a:p>
        </p:txBody>
      </p:sp>
    </p:spTree>
    <p:extLst>
      <p:ext uri="{BB962C8B-B14F-4D97-AF65-F5344CB8AC3E}">
        <p14:creationId xmlns:p14="http://schemas.microsoft.com/office/powerpoint/2010/main" val="1684628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DF39-6657-4BD6-993A-4BD2544001C6}"/>
              </a:ext>
            </a:extLst>
          </p:cNvPr>
          <p:cNvSpPr>
            <a:spLocks noGrp="1"/>
          </p:cNvSpPr>
          <p:nvPr>
            <p:ph type="title"/>
          </p:nvPr>
        </p:nvSpPr>
        <p:spPr/>
        <p:txBody>
          <a:bodyPr/>
          <a:lstStyle/>
          <a:p>
            <a:r>
              <a:rPr lang="en-US"/>
              <a:t>Democratizing the layout experience</a:t>
            </a:r>
          </a:p>
        </p:txBody>
      </p:sp>
      <p:sp>
        <p:nvSpPr>
          <p:cNvPr id="3" name="Content Placeholder 2">
            <a:extLst>
              <a:ext uri="{FF2B5EF4-FFF2-40B4-BE49-F238E27FC236}">
                <a16:creationId xmlns:a16="http://schemas.microsoft.com/office/drawing/2014/main" id="{40009ED3-9330-4B47-B9B7-FE670A019186}"/>
              </a:ext>
            </a:extLst>
          </p:cNvPr>
          <p:cNvSpPr>
            <a:spLocks noGrp="1"/>
          </p:cNvSpPr>
          <p:nvPr>
            <p:ph idx="1"/>
          </p:nvPr>
        </p:nvSpPr>
        <p:spPr/>
        <p:txBody>
          <a:bodyPr>
            <a:normAutofit lnSpcReduction="10000"/>
          </a:bodyPr>
          <a:lstStyle/>
          <a:p>
            <a:pPr marL="0" marR="0">
              <a:spcBef>
                <a:spcPts val="0"/>
              </a:spcBef>
              <a:spcAft>
                <a:spcPts val="0"/>
              </a:spcAft>
            </a:pPr>
            <a:r>
              <a:rPr lang="en-US"/>
              <a:t>Report development in Business Central consists of two parts</a:t>
            </a:r>
          </a:p>
          <a:p>
            <a:pPr marL="457200" lvl="1">
              <a:spcBef>
                <a:spcPts val="0"/>
              </a:spcBef>
            </a:pPr>
            <a:r>
              <a:rPr lang="en-US"/>
              <a:t>developing the report dataset (the report object) </a:t>
            </a:r>
          </a:p>
          <a:p>
            <a:pPr marL="457200" lvl="1">
              <a:spcBef>
                <a:spcPts val="0"/>
              </a:spcBef>
            </a:pPr>
            <a:r>
              <a:rPr lang="en-US"/>
              <a:t>developing the layout (Word/RDLC/Excel)</a:t>
            </a:r>
          </a:p>
          <a:p>
            <a:pPr marL="0">
              <a:spcBef>
                <a:spcPts val="0"/>
              </a:spcBef>
            </a:pPr>
            <a:endParaRPr lang="en-US"/>
          </a:p>
          <a:p>
            <a:pPr marL="0">
              <a:spcBef>
                <a:spcPts val="0"/>
              </a:spcBef>
            </a:pPr>
            <a:r>
              <a:rPr lang="en-US"/>
              <a:t>With Excel layouts, report layout experience is now in the hand of normal users</a:t>
            </a:r>
          </a:p>
          <a:p>
            <a:pPr marL="0">
              <a:spcBef>
                <a:spcPts val="0"/>
              </a:spcBef>
            </a:pPr>
            <a:endParaRPr lang="en-US"/>
          </a:p>
          <a:p>
            <a:pPr marL="0">
              <a:spcBef>
                <a:spcPts val="0"/>
              </a:spcBef>
            </a:pPr>
            <a:r>
              <a:rPr lang="en-US"/>
              <a:t>Given that the dataset has the data needed in the correct format, end users now have total freedom to change the look and feel of the report, add additional views on the data, filter and sort as they need, etc. If one of these modifications make sense to save, they can just import it as a new layout.</a:t>
            </a:r>
          </a:p>
        </p:txBody>
      </p:sp>
    </p:spTree>
    <p:extLst>
      <p:ext uri="{BB962C8B-B14F-4D97-AF65-F5344CB8AC3E}">
        <p14:creationId xmlns:p14="http://schemas.microsoft.com/office/powerpoint/2010/main" val="3798224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Excel layout samples</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7646060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E3422-4EC4-A211-B961-074A58A4DA83}"/>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5400" kern="1200">
                <a:solidFill>
                  <a:schemeClr val="tx1"/>
                </a:solidFill>
                <a:latin typeface="+mj-lt"/>
                <a:ea typeface="+mj-ea"/>
                <a:cs typeface="+mj-cs"/>
              </a:rPr>
              <a:t>aka.ms/bcexcelsamples</a:t>
            </a:r>
          </a:p>
        </p:txBody>
      </p:sp>
      <p:pic>
        <p:nvPicPr>
          <p:cNvPr id="5" name="Picture 4">
            <a:extLst>
              <a:ext uri="{FF2B5EF4-FFF2-40B4-BE49-F238E27FC236}">
                <a16:creationId xmlns:a16="http://schemas.microsoft.com/office/drawing/2014/main" id="{7A05FACC-EFA9-4F39-2802-B18B0300C847}"/>
              </a:ext>
            </a:extLst>
          </p:cNvPr>
          <p:cNvPicPr>
            <a:picLocks noChangeAspect="1"/>
          </p:cNvPicPr>
          <p:nvPr/>
        </p:nvPicPr>
        <p:blipFill>
          <a:blip r:embed="rId2"/>
          <a:stretch>
            <a:fillRect/>
          </a:stretch>
        </p:blipFill>
        <p:spPr>
          <a:xfrm>
            <a:off x="838199" y="1208627"/>
            <a:ext cx="9804780" cy="5588724"/>
          </a:xfrm>
          <a:prstGeom prst="rect">
            <a:avLst/>
          </a:prstGeom>
        </p:spPr>
      </p:pic>
    </p:spTree>
    <p:extLst>
      <p:ext uri="{BB962C8B-B14F-4D97-AF65-F5344CB8AC3E}">
        <p14:creationId xmlns:p14="http://schemas.microsoft.com/office/powerpoint/2010/main" val="37980543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Post-processing (with Excel)</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1656579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do post processing and data analysis</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Sort &amp; Filter</a:t>
            </a:r>
          </a:p>
          <a:p>
            <a:r>
              <a:rPr lang="en-US"/>
              <a:t>Data Tools</a:t>
            </a:r>
          </a:p>
          <a:p>
            <a:r>
              <a:rPr lang="en-US"/>
              <a:t>Forecast</a:t>
            </a:r>
          </a:p>
          <a:p>
            <a:r>
              <a:rPr lang="en-US"/>
              <a:t>Outline data</a:t>
            </a:r>
          </a:p>
          <a:p>
            <a:r>
              <a:rPr lang="en-US"/>
              <a:t>Power Pivot</a:t>
            </a:r>
          </a:p>
          <a:p>
            <a:r>
              <a:rPr lang="en-US"/>
              <a:t>Data Insights</a:t>
            </a:r>
          </a:p>
          <a:p>
            <a:r>
              <a:rPr lang="en-US"/>
              <a:t>…</a:t>
            </a:r>
          </a:p>
          <a:p>
            <a:endParaRPr lang="en-US"/>
          </a:p>
        </p:txBody>
      </p:sp>
    </p:spTree>
    <p:extLst>
      <p:ext uri="{BB962C8B-B14F-4D97-AF65-F5344CB8AC3E}">
        <p14:creationId xmlns:p14="http://schemas.microsoft.com/office/powerpoint/2010/main" val="18715813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Sort &amp; Filter</a:t>
            </a:r>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err="1"/>
              <a:t>Slice’n’dice</a:t>
            </a:r>
            <a:r>
              <a:rPr lang="en-US"/>
              <a:t> data on worksheets</a:t>
            </a:r>
          </a:p>
        </p:txBody>
      </p:sp>
      <p:graphicFrame>
        <p:nvGraphicFramePr>
          <p:cNvPr id="8" name="Object 7">
            <a:extLst>
              <a:ext uri="{FF2B5EF4-FFF2-40B4-BE49-F238E27FC236}">
                <a16:creationId xmlns:a16="http://schemas.microsoft.com/office/drawing/2014/main" id="{D4F1FB5F-D9B3-4E6F-A52C-8AFF46709531}"/>
              </a:ext>
            </a:extLst>
          </p:cNvPr>
          <p:cNvGraphicFramePr>
            <a:graphicFrameLocks noChangeAspect="1"/>
          </p:cNvGraphicFramePr>
          <p:nvPr>
            <p:extLst>
              <p:ext uri="{D42A27DB-BD31-4B8C-83A1-F6EECF244321}">
                <p14:modId xmlns:p14="http://schemas.microsoft.com/office/powerpoint/2010/main" val="1064388590"/>
              </p:ext>
            </p:extLst>
          </p:nvPr>
        </p:nvGraphicFramePr>
        <p:xfrm>
          <a:off x="888902" y="1825625"/>
          <a:ext cx="5136162" cy="2178978"/>
        </p:xfrm>
        <a:graphic>
          <a:graphicData uri="http://schemas.openxmlformats.org/presentationml/2006/ole">
            <mc:AlternateContent xmlns:mc="http://schemas.openxmlformats.org/markup-compatibility/2006">
              <mc:Choice xmlns:v="urn:schemas-microsoft-com:vml" Requires="v">
                <p:oleObj name="Bitmap Image" r:id="rId2" imgW="2095560" imgH="888840" progId="Paint.Picture">
                  <p:embed/>
                </p:oleObj>
              </mc:Choice>
              <mc:Fallback>
                <p:oleObj name="Bitmap Image" r:id="rId2" imgW="2095560" imgH="888840" progId="Paint.Picture">
                  <p:embed/>
                  <p:pic>
                    <p:nvPicPr>
                      <p:cNvPr id="8" name="Object 7">
                        <a:extLst>
                          <a:ext uri="{FF2B5EF4-FFF2-40B4-BE49-F238E27FC236}">
                            <a16:creationId xmlns:a16="http://schemas.microsoft.com/office/drawing/2014/main" id="{D4F1FB5F-D9B3-4E6F-A52C-8AFF46709531}"/>
                          </a:ext>
                        </a:extLst>
                      </p:cNvPr>
                      <p:cNvPicPr/>
                      <p:nvPr/>
                    </p:nvPicPr>
                    <p:blipFill>
                      <a:blip r:embed="rId3"/>
                      <a:stretch>
                        <a:fillRect/>
                      </a:stretch>
                    </p:blipFill>
                    <p:spPr>
                      <a:xfrm>
                        <a:off x="888902" y="1825625"/>
                        <a:ext cx="5136162" cy="2178978"/>
                      </a:xfrm>
                      <a:prstGeom prst="rect">
                        <a:avLst/>
                      </a:prstGeom>
                    </p:spPr>
                  </p:pic>
                </p:oleObj>
              </mc:Fallback>
            </mc:AlternateContent>
          </a:graphicData>
        </a:graphic>
      </p:graphicFrame>
    </p:spTree>
    <p:extLst>
      <p:ext uri="{BB962C8B-B14F-4D97-AF65-F5344CB8AC3E}">
        <p14:creationId xmlns:p14="http://schemas.microsoft.com/office/powerpoint/2010/main" val="2684980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DD5AE-A101-47A3-8C8E-C397DCE5FD2F}"/>
              </a:ext>
            </a:extLst>
          </p:cNvPr>
          <p:cNvSpPr>
            <a:spLocks noGrp="1"/>
          </p:cNvSpPr>
          <p:nvPr>
            <p:ph type="title"/>
          </p:nvPr>
        </p:nvSpPr>
        <p:spPr/>
        <p:txBody>
          <a:bodyPr/>
          <a:lstStyle/>
          <a:p>
            <a:r>
              <a:rPr lang="en-US"/>
              <a:t>Creating a layout in four easy steps</a:t>
            </a:r>
          </a:p>
        </p:txBody>
      </p:sp>
      <p:sp>
        <p:nvSpPr>
          <p:cNvPr id="3" name="Content Placeholder 2">
            <a:extLst>
              <a:ext uri="{FF2B5EF4-FFF2-40B4-BE49-F238E27FC236}">
                <a16:creationId xmlns:a16="http://schemas.microsoft.com/office/drawing/2014/main" id="{A3DF9F97-4A62-4703-BEAA-A7F660FE0049}"/>
              </a:ext>
            </a:extLst>
          </p:cNvPr>
          <p:cNvSpPr>
            <a:spLocks noGrp="1"/>
          </p:cNvSpPr>
          <p:nvPr>
            <p:ph idx="1"/>
          </p:nvPr>
        </p:nvSpPr>
        <p:spPr/>
        <p:txBody>
          <a:bodyPr/>
          <a:lstStyle/>
          <a:p>
            <a:pPr marL="514350" indent="-514350">
              <a:buFont typeface="+mj-lt"/>
              <a:buAutoNum type="arabicPeriod"/>
            </a:pPr>
            <a:r>
              <a:rPr lang="en-US"/>
              <a:t>Get Excel workbook with the “data contract”</a:t>
            </a:r>
          </a:p>
          <a:p>
            <a:pPr lvl="1"/>
            <a:r>
              <a:rPr lang="en-US"/>
              <a:t>Edit existing Excel layout, or</a:t>
            </a:r>
          </a:p>
          <a:p>
            <a:pPr lvl="1"/>
            <a:r>
              <a:rPr lang="en-US"/>
              <a:t>Get blank template from request page, Schedule, Excel Document (Data only)</a:t>
            </a:r>
          </a:p>
          <a:p>
            <a:pPr marL="514350" indent="-514350">
              <a:buFont typeface="+mj-lt"/>
              <a:buAutoNum type="arabicPeriod"/>
            </a:pPr>
            <a:r>
              <a:rPr lang="en-US"/>
              <a:t>Layout data as you wish</a:t>
            </a:r>
          </a:p>
          <a:p>
            <a:pPr lvl="1"/>
            <a:r>
              <a:rPr lang="en-US"/>
              <a:t>Use almost any Excel feature (except VBA and password protection)</a:t>
            </a:r>
          </a:p>
          <a:p>
            <a:pPr marL="514350" indent="-514350">
              <a:buFont typeface="+mj-lt"/>
              <a:buAutoNum type="arabicPeriod"/>
            </a:pPr>
            <a:r>
              <a:rPr lang="en-US"/>
              <a:t>Import layout file into Business Central</a:t>
            </a:r>
          </a:p>
          <a:p>
            <a:pPr lvl="1"/>
            <a:r>
              <a:rPr lang="en-US"/>
              <a:t>On Report Layouts page, choose New Layout</a:t>
            </a:r>
          </a:p>
          <a:p>
            <a:pPr marL="514350" indent="-514350">
              <a:buFont typeface="+mj-lt"/>
              <a:buAutoNum type="arabicPeriod"/>
            </a:pPr>
            <a:r>
              <a:rPr lang="en-US"/>
              <a:t>Test layout</a:t>
            </a:r>
          </a:p>
          <a:p>
            <a:pPr lvl="1"/>
            <a:r>
              <a:rPr lang="en-US"/>
              <a:t>On Report Layouts page, choose Run Report</a:t>
            </a:r>
          </a:p>
        </p:txBody>
      </p:sp>
    </p:spTree>
    <p:extLst>
      <p:ext uri="{BB962C8B-B14F-4D97-AF65-F5344CB8AC3E}">
        <p14:creationId xmlns:p14="http://schemas.microsoft.com/office/powerpoint/2010/main" val="20221752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Data Tools</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Manipulate data for further analysis</a:t>
            </a:r>
          </a:p>
        </p:txBody>
      </p:sp>
      <p:graphicFrame>
        <p:nvGraphicFramePr>
          <p:cNvPr id="2" name="Object 1">
            <a:extLst>
              <a:ext uri="{FF2B5EF4-FFF2-40B4-BE49-F238E27FC236}">
                <a16:creationId xmlns:a16="http://schemas.microsoft.com/office/drawing/2014/main" id="{5B570CBB-573F-4885-8B86-D4F69AB46B74}"/>
              </a:ext>
            </a:extLst>
          </p:cNvPr>
          <p:cNvGraphicFramePr>
            <a:graphicFrameLocks noChangeAspect="1"/>
          </p:cNvGraphicFramePr>
          <p:nvPr>
            <p:extLst>
              <p:ext uri="{D42A27DB-BD31-4B8C-83A1-F6EECF244321}">
                <p14:modId xmlns:p14="http://schemas.microsoft.com/office/powerpoint/2010/main" val="1415907419"/>
              </p:ext>
            </p:extLst>
          </p:nvPr>
        </p:nvGraphicFramePr>
        <p:xfrm>
          <a:off x="838200" y="1825625"/>
          <a:ext cx="5181600" cy="3740102"/>
        </p:xfrm>
        <a:graphic>
          <a:graphicData uri="http://schemas.openxmlformats.org/presentationml/2006/ole">
            <mc:AlternateContent xmlns:mc="http://schemas.openxmlformats.org/markup-compatibility/2006">
              <mc:Choice xmlns:v="urn:schemas-microsoft-com:vml" Requires="v">
                <p:oleObj name="Bitmap Image" r:id="rId2" imgW="1266840" imgH="914400" progId="Paint.Picture">
                  <p:embed/>
                </p:oleObj>
              </mc:Choice>
              <mc:Fallback>
                <p:oleObj name="Bitmap Image" r:id="rId2" imgW="1266840" imgH="914400" progId="Paint.Picture">
                  <p:embed/>
                  <p:pic>
                    <p:nvPicPr>
                      <p:cNvPr id="2" name="Object 1">
                        <a:extLst>
                          <a:ext uri="{FF2B5EF4-FFF2-40B4-BE49-F238E27FC236}">
                            <a16:creationId xmlns:a16="http://schemas.microsoft.com/office/drawing/2014/main" id="{5B570CBB-573F-4885-8B86-D4F69AB46B74}"/>
                          </a:ext>
                        </a:extLst>
                      </p:cNvPr>
                      <p:cNvPicPr/>
                      <p:nvPr/>
                    </p:nvPicPr>
                    <p:blipFill>
                      <a:blip r:embed="rId3"/>
                      <a:stretch>
                        <a:fillRect/>
                      </a:stretch>
                    </p:blipFill>
                    <p:spPr>
                      <a:xfrm>
                        <a:off x="838200" y="1825625"/>
                        <a:ext cx="5181600" cy="3740102"/>
                      </a:xfrm>
                      <a:prstGeom prst="rect">
                        <a:avLst/>
                      </a:prstGeom>
                    </p:spPr>
                  </p:pic>
                </p:oleObj>
              </mc:Fallback>
            </mc:AlternateContent>
          </a:graphicData>
        </a:graphic>
      </p:graphicFrame>
    </p:spTree>
    <p:extLst>
      <p:ext uri="{BB962C8B-B14F-4D97-AF65-F5344CB8AC3E}">
        <p14:creationId xmlns:p14="http://schemas.microsoft.com/office/powerpoint/2010/main" val="34375206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Forecas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If data is laid out right, maybe you can use Excel forecasting features</a:t>
            </a:r>
          </a:p>
        </p:txBody>
      </p:sp>
      <p:graphicFrame>
        <p:nvGraphicFramePr>
          <p:cNvPr id="5" name="Object 4">
            <a:extLst>
              <a:ext uri="{FF2B5EF4-FFF2-40B4-BE49-F238E27FC236}">
                <a16:creationId xmlns:a16="http://schemas.microsoft.com/office/drawing/2014/main" id="{63E1CE06-F8AD-43F9-9D59-CB394F24869A}"/>
              </a:ext>
            </a:extLst>
          </p:cNvPr>
          <p:cNvGraphicFramePr>
            <a:graphicFrameLocks noChangeAspect="1"/>
          </p:cNvGraphicFramePr>
          <p:nvPr>
            <p:extLst>
              <p:ext uri="{D42A27DB-BD31-4B8C-83A1-F6EECF244321}">
                <p14:modId xmlns:p14="http://schemas.microsoft.com/office/powerpoint/2010/main" val="2981328450"/>
              </p:ext>
            </p:extLst>
          </p:nvPr>
        </p:nvGraphicFramePr>
        <p:xfrm>
          <a:off x="838200" y="1825625"/>
          <a:ext cx="5181600" cy="4220376"/>
        </p:xfrm>
        <a:graphic>
          <a:graphicData uri="http://schemas.openxmlformats.org/presentationml/2006/ole">
            <mc:AlternateContent xmlns:mc="http://schemas.openxmlformats.org/markup-compatibility/2006">
              <mc:Choice xmlns:v="urn:schemas-microsoft-com:vml" Requires="v">
                <p:oleObj name="Bitmap Image" r:id="rId2" imgW="1095480" imgH="892080" progId="Paint.Picture">
                  <p:embed/>
                </p:oleObj>
              </mc:Choice>
              <mc:Fallback>
                <p:oleObj name="Bitmap Image" r:id="rId2" imgW="1095480" imgH="892080" progId="Paint.Picture">
                  <p:embed/>
                  <p:pic>
                    <p:nvPicPr>
                      <p:cNvPr id="5" name="Object 4">
                        <a:extLst>
                          <a:ext uri="{FF2B5EF4-FFF2-40B4-BE49-F238E27FC236}">
                            <a16:creationId xmlns:a16="http://schemas.microsoft.com/office/drawing/2014/main" id="{63E1CE06-F8AD-43F9-9D59-CB394F24869A}"/>
                          </a:ext>
                        </a:extLst>
                      </p:cNvPr>
                      <p:cNvPicPr/>
                      <p:nvPr/>
                    </p:nvPicPr>
                    <p:blipFill>
                      <a:blip r:embed="rId3"/>
                      <a:stretch>
                        <a:fillRect/>
                      </a:stretch>
                    </p:blipFill>
                    <p:spPr>
                      <a:xfrm>
                        <a:off x="838200" y="1825625"/>
                        <a:ext cx="5181600" cy="4220376"/>
                      </a:xfrm>
                      <a:prstGeom prst="rect">
                        <a:avLst/>
                      </a:prstGeom>
                    </p:spPr>
                  </p:pic>
                </p:oleObj>
              </mc:Fallback>
            </mc:AlternateContent>
          </a:graphicData>
        </a:graphic>
      </p:graphicFrame>
    </p:spTree>
    <p:extLst>
      <p:ext uri="{BB962C8B-B14F-4D97-AF65-F5344CB8AC3E}">
        <p14:creationId xmlns:p14="http://schemas.microsoft.com/office/powerpoint/2010/main" val="28085890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Outline</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Group data and make subtotals</a:t>
            </a:r>
          </a:p>
        </p:txBody>
      </p:sp>
      <p:graphicFrame>
        <p:nvGraphicFramePr>
          <p:cNvPr id="2" name="Object 1">
            <a:extLst>
              <a:ext uri="{FF2B5EF4-FFF2-40B4-BE49-F238E27FC236}">
                <a16:creationId xmlns:a16="http://schemas.microsoft.com/office/drawing/2014/main" id="{D11749C0-D1E4-4C8F-A35D-FD997A411A1B}"/>
              </a:ext>
            </a:extLst>
          </p:cNvPr>
          <p:cNvGraphicFramePr>
            <a:graphicFrameLocks noChangeAspect="1"/>
          </p:cNvGraphicFramePr>
          <p:nvPr>
            <p:extLst>
              <p:ext uri="{D42A27DB-BD31-4B8C-83A1-F6EECF244321}">
                <p14:modId xmlns:p14="http://schemas.microsoft.com/office/powerpoint/2010/main" val="3923926822"/>
              </p:ext>
            </p:extLst>
          </p:nvPr>
        </p:nvGraphicFramePr>
        <p:xfrm>
          <a:off x="838200" y="1825625"/>
          <a:ext cx="5181600" cy="4297467"/>
        </p:xfrm>
        <a:graphic>
          <a:graphicData uri="http://schemas.openxmlformats.org/presentationml/2006/ole">
            <mc:AlternateContent xmlns:mc="http://schemas.openxmlformats.org/markup-compatibility/2006">
              <mc:Choice xmlns:v="urn:schemas-microsoft-com:vml" Requires="v">
                <p:oleObj name="Bitmap Image" r:id="rId2" imgW="2270160" imgH="1882800" progId="Paint.Picture">
                  <p:embed/>
                </p:oleObj>
              </mc:Choice>
              <mc:Fallback>
                <p:oleObj name="Bitmap Image" r:id="rId2" imgW="2270160" imgH="1882800" progId="Paint.Picture">
                  <p:embed/>
                  <p:pic>
                    <p:nvPicPr>
                      <p:cNvPr id="2" name="Object 1">
                        <a:extLst>
                          <a:ext uri="{FF2B5EF4-FFF2-40B4-BE49-F238E27FC236}">
                            <a16:creationId xmlns:a16="http://schemas.microsoft.com/office/drawing/2014/main" id="{D11749C0-D1E4-4C8F-A35D-FD997A411A1B}"/>
                          </a:ext>
                        </a:extLst>
                      </p:cNvPr>
                      <p:cNvPicPr/>
                      <p:nvPr/>
                    </p:nvPicPr>
                    <p:blipFill>
                      <a:blip r:embed="rId3"/>
                      <a:stretch>
                        <a:fillRect/>
                      </a:stretch>
                    </p:blipFill>
                    <p:spPr>
                      <a:xfrm>
                        <a:off x="838200" y="1825625"/>
                        <a:ext cx="5181600" cy="4297467"/>
                      </a:xfrm>
                      <a:prstGeom prst="rect">
                        <a:avLst/>
                      </a:prstGeom>
                    </p:spPr>
                  </p:pic>
                </p:oleObj>
              </mc:Fallback>
            </mc:AlternateContent>
          </a:graphicData>
        </a:graphic>
      </p:graphicFrame>
    </p:spTree>
    <p:extLst>
      <p:ext uri="{BB962C8B-B14F-4D97-AF65-F5344CB8AC3E}">
        <p14:creationId xmlns:p14="http://schemas.microsoft.com/office/powerpoint/2010/main" val="41521214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PowerPivo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Create rich data models and add measures and KPIs</a:t>
            </a:r>
          </a:p>
        </p:txBody>
      </p:sp>
      <p:graphicFrame>
        <p:nvGraphicFramePr>
          <p:cNvPr id="5" name="Object 4">
            <a:extLst>
              <a:ext uri="{FF2B5EF4-FFF2-40B4-BE49-F238E27FC236}">
                <a16:creationId xmlns:a16="http://schemas.microsoft.com/office/drawing/2014/main" id="{84553168-94F4-446D-9656-518F08BFF5BF}"/>
              </a:ext>
            </a:extLst>
          </p:cNvPr>
          <p:cNvGraphicFramePr>
            <a:graphicFrameLocks noChangeAspect="1"/>
          </p:cNvGraphicFramePr>
          <p:nvPr>
            <p:extLst>
              <p:ext uri="{D42A27DB-BD31-4B8C-83A1-F6EECF244321}">
                <p14:modId xmlns:p14="http://schemas.microsoft.com/office/powerpoint/2010/main" val="50948341"/>
              </p:ext>
            </p:extLst>
          </p:nvPr>
        </p:nvGraphicFramePr>
        <p:xfrm>
          <a:off x="838200" y="1825624"/>
          <a:ext cx="5169996" cy="1517797"/>
        </p:xfrm>
        <a:graphic>
          <a:graphicData uri="http://schemas.openxmlformats.org/presentationml/2006/ole">
            <mc:AlternateContent xmlns:mc="http://schemas.openxmlformats.org/markup-compatibility/2006">
              <mc:Choice xmlns:v="urn:schemas-microsoft-com:vml" Requires="v">
                <p:oleObj name="Bitmap Image" r:id="rId2" imgW="3114720" imgH="914400" progId="Paint.Picture">
                  <p:embed/>
                </p:oleObj>
              </mc:Choice>
              <mc:Fallback>
                <p:oleObj name="Bitmap Image" r:id="rId2" imgW="3114720" imgH="914400" progId="Paint.Picture">
                  <p:embed/>
                  <p:pic>
                    <p:nvPicPr>
                      <p:cNvPr id="5" name="Object 4">
                        <a:extLst>
                          <a:ext uri="{FF2B5EF4-FFF2-40B4-BE49-F238E27FC236}">
                            <a16:creationId xmlns:a16="http://schemas.microsoft.com/office/drawing/2014/main" id="{84553168-94F4-446D-9656-518F08BFF5BF}"/>
                          </a:ext>
                        </a:extLst>
                      </p:cNvPr>
                      <p:cNvPicPr/>
                      <p:nvPr/>
                    </p:nvPicPr>
                    <p:blipFill>
                      <a:blip r:embed="rId3"/>
                      <a:stretch>
                        <a:fillRect/>
                      </a:stretch>
                    </p:blipFill>
                    <p:spPr>
                      <a:xfrm>
                        <a:off x="838200" y="1825624"/>
                        <a:ext cx="5169996" cy="1517797"/>
                      </a:xfrm>
                      <a:prstGeom prst="rect">
                        <a:avLst/>
                      </a:prstGeom>
                    </p:spPr>
                  </p:pic>
                </p:oleObj>
              </mc:Fallback>
            </mc:AlternateContent>
          </a:graphicData>
        </a:graphic>
      </p:graphicFrame>
    </p:spTree>
    <p:extLst>
      <p:ext uri="{BB962C8B-B14F-4D97-AF65-F5344CB8AC3E}">
        <p14:creationId xmlns:p14="http://schemas.microsoft.com/office/powerpoint/2010/main" val="6322968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DADD-8899-43A0-B13F-3E23B6ABA390}"/>
              </a:ext>
            </a:extLst>
          </p:cNvPr>
          <p:cNvSpPr>
            <a:spLocks noGrp="1"/>
          </p:cNvSpPr>
          <p:nvPr>
            <p:ph type="title"/>
          </p:nvPr>
        </p:nvSpPr>
        <p:spPr/>
        <p:txBody>
          <a:bodyPr/>
          <a:lstStyle/>
          <a:p>
            <a:r>
              <a:rPr lang="en-US"/>
              <a:t>Let Excel find insights in your data</a:t>
            </a:r>
          </a:p>
        </p:txBody>
      </p:sp>
      <p:graphicFrame>
        <p:nvGraphicFramePr>
          <p:cNvPr id="5" name="Object 4">
            <a:extLst>
              <a:ext uri="{FF2B5EF4-FFF2-40B4-BE49-F238E27FC236}">
                <a16:creationId xmlns:a16="http://schemas.microsoft.com/office/drawing/2014/main" id="{19B4D18E-939B-4A0C-8A12-7DD6C81758C2}"/>
              </a:ext>
            </a:extLst>
          </p:cNvPr>
          <p:cNvGraphicFramePr>
            <a:graphicFrameLocks noChangeAspect="1"/>
          </p:cNvGraphicFramePr>
          <p:nvPr>
            <p:extLst>
              <p:ext uri="{D42A27DB-BD31-4B8C-83A1-F6EECF244321}">
                <p14:modId xmlns:p14="http://schemas.microsoft.com/office/powerpoint/2010/main" val="2706143380"/>
              </p:ext>
            </p:extLst>
          </p:nvPr>
        </p:nvGraphicFramePr>
        <p:xfrm>
          <a:off x="952817" y="1456213"/>
          <a:ext cx="10400983" cy="5363908"/>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19B4D18E-939B-4A0C-8A12-7DD6C81758C2}"/>
                          </a:ext>
                        </a:extLst>
                      </p:cNvPr>
                      <p:cNvPicPr/>
                      <p:nvPr/>
                    </p:nvPicPr>
                    <p:blipFill>
                      <a:blip r:embed="rId3"/>
                      <a:stretch>
                        <a:fillRect/>
                      </a:stretch>
                    </p:blipFill>
                    <p:spPr>
                      <a:xfrm>
                        <a:off x="952817" y="1456213"/>
                        <a:ext cx="10400983" cy="536390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80E4A25-7797-4457-A2E1-11431E508B0F}"/>
              </a:ext>
            </a:extLst>
          </p:cNvPr>
          <p:cNvSpPr/>
          <p:nvPr/>
        </p:nvSpPr>
        <p:spPr>
          <a:xfrm>
            <a:off x="8515780" y="2588454"/>
            <a:ext cx="2757131" cy="398115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457CD9-ABE5-4DE0-AE4E-AA169126908B}"/>
              </a:ext>
            </a:extLst>
          </p:cNvPr>
          <p:cNvSpPr/>
          <p:nvPr/>
        </p:nvSpPr>
        <p:spPr>
          <a:xfrm>
            <a:off x="9833316" y="1456213"/>
            <a:ext cx="487681" cy="827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1658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Collaborate (with Excel)</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3505693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collaborate on the report document</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Comments</a:t>
            </a:r>
          </a:p>
          <a:p>
            <a:r>
              <a:rPr lang="en-US"/>
              <a:t>Notes</a:t>
            </a:r>
          </a:p>
          <a:p>
            <a:r>
              <a:rPr lang="en-US"/>
              <a:t>Ink</a:t>
            </a:r>
          </a:p>
          <a:p>
            <a:r>
              <a:rPr lang="en-US"/>
              <a:t>Protect</a:t>
            </a:r>
          </a:p>
          <a:p>
            <a:r>
              <a:rPr lang="en-US"/>
              <a:t>Document classification</a:t>
            </a:r>
          </a:p>
          <a:p>
            <a:r>
              <a:rPr lang="en-US"/>
              <a:t>Power Automate Flows</a:t>
            </a:r>
          </a:p>
          <a:p>
            <a:r>
              <a:rPr lang="en-US"/>
              <a:t>…</a:t>
            </a:r>
          </a:p>
          <a:p>
            <a:endParaRPr lang="en-US"/>
          </a:p>
        </p:txBody>
      </p:sp>
    </p:spTree>
    <p:extLst>
      <p:ext uri="{BB962C8B-B14F-4D97-AF65-F5344CB8AC3E}">
        <p14:creationId xmlns:p14="http://schemas.microsoft.com/office/powerpoint/2010/main" val="2941012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omments</a:t>
            </a:r>
          </a:p>
        </p:txBody>
      </p:sp>
      <p:graphicFrame>
        <p:nvGraphicFramePr>
          <p:cNvPr id="8" name="Object 7">
            <a:extLst>
              <a:ext uri="{FF2B5EF4-FFF2-40B4-BE49-F238E27FC236}">
                <a16:creationId xmlns:a16="http://schemas.microsoft.com/office/drawing/2014/main" id="{4AFBED84-9ACC-48F2-AD0E-1A9E556C444E}"/>
              </a:ext>
            </a:extLst>
          </p:cNvPr>
          <p:cNvGraphicFramePr>
            <a:graphicFrameLocks noChangeAspect="1"/>
          </p:cNvGraphicFramePr>
          <p:nvPr>
            <p:extLst>
              <p:ext uri="{D42A27DB-BD31-4B8C-83A1-F6EECF244321}">
                <p14:modId xmlns:p14="http://schemas.microsoft.com/office/powerpoint/2010/main" val="1018951632"/>
              </p:ext>
            </p:extLst>
          </p:nvPr>
        </p:nvGraphicFramePr>
        <p:xfrm>
          <a:off x="444155" y="1430215"/>
          <a:ext cx="7649970" cy="5387414"/>
        </p:xfrm>
        <a:graphic>
          <a:graphicData uri="http://schemas.openxmlformats.org/presentationml/2006/ole">
            <mc:AlternateContent xmlns:mc="http://schemas.openxmlformats.org/markup-compatibility/2006">
              <mc:Choice xmlns:v="urn:schemas-microsoft-com:vml" Requires="v">
                <p:oleObj name="Bitmap Image" r:id="rId2" imgW="9210600" imgH="6486480" progId="Paint.Picture">
                  <p:embed/>
                </p:oleObj>
              </mc:Choice>
              <mc:Fallback>
                <p:oleObj name="Bitmap Image" r:id="rId2" imgW="9210600" imgH="6486480" progId="Paint.Picture">
                  <p:embed/>
                  <p:pic>
                    <p:nvPicPr>
                      <p:cNvPr id="8" name="Object 7">
                        <a:extLst>
                          <a:ext uri="{FF2B5EF4-FFF2-40B4-BE49-F238E27FC236}">
                            <a16:creationId xmlns:a16="http://schemas.microsoft.com/office/drawing/2014/main" id="{4AFBED84-9ACC-48F2-AD0E-1A9E556C444E}"/>
                          </a:ext>
                        </a:extLst>
                      </p:cNvPr>
                      <p:cNvPicPr/>
                      <p:nvPr/>
                    </p:nvPicPr>
                    <p:blipFill>
                      <a:blip r:embed="rId3"/>
                      <a:stretch>
                        <a:fillRect/>
                      </a:stretch>
                    </p:blipFill>
                    <p:spPr>
                      <a:xfrm>
                        <a:off x="444155" y="1430215"/>
                        <a:ext cx="7649970" cy="5387414"/>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C8ADA47-57CD-4AB0-A2CF-332C6A41F920}"/>
              </a:ext>
            </a:extLst>
          </p:cNvPr>
          <p:cNvSpPr/>
          <p:nvPr/>
        </p:nvSpPr>
        <p:spPr>
          <a:xfrm>
            <a:off x="3675798" y="1656380"/>
            <a:ext cx="2365611" cy="80931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08482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A9CF678-40E9-4CB3-9CD4-C447719D99DA}"/>
              </a:ext>
            </a:extLst>
          </p:cNvPr>
          <p:cNvGraphicFramePr>
            <a:graphicFrameLocks noChangeAspect="1"/>
          </p:cNvGraphicFramePr>
          <p:nvPr>
            <p:extLst>
              <p:ext uri="{D42A27DB-BD31-4B8C-83A1-F6EECF244321}">
                <p14:modId xmlns:p14="http://schemas.microsoft.com/office/powerpoint/2010/main" val="2635533447"/>
              </p:ext>
            </p:extLst>
          </p:nvPr>
        </p:nvGraphicFramePr>
        <p:xfrm>
          <a:off x="1022284" y="1551747"/>
          <a:ext cx="7114761" cy="5117911"/>
        </p:xfrm>
        <a:graphic>
          <a:graphicData uri="http://schemas.openxmlformats.org/presentationml/2006/ole">
            <mc:AlternateContent xmlns:mc="http://schemas.openxmlformats.org/markup-compatibility/2006">
              <mc:Choice xmlns:v="urn:schemas-microsoft-com:vml" Requires="v">
                <p:oleObj name="Bitmap Image" r:id="rId2" imgW="8620200" imgH="6200640" progId="Paint.Picture">
                  <p:embed/>
                </p:oleObj>
              </mc:Choice>
              <mc:Fallback>
                <p:oleObj name="Bitmap Image" r:id="rId2" imgW="8620200" imgH="6200640" progId="Paint.Picture">
                  <p:embed/>
                  <p:pic>
                    <p:nvPicPr>
                      <p:cNvPr id="2" name="Object 1">
                        <a:extLst>
                          <a:ext uri="{FF2B5EF4-FFF2-40B4-BE49-F238E27FC236}">
                            <a16:creationId xmlns:a16="http://schemas.microsoft.com/office/drawing/2014/main" id="{1A9CF678-40E9-4CB3-9CD4-C447719D99DA}"/>
                          </a:ext>
                        </a:extLst>
                      </p:cNvPr>
                      <p:cNvPicPr/>
                      <p:nvPr/>
                    </p:nvPicPr>
                    <p:blipFill>
                      <a:blip r:embed="rId3"/>
                      <a:stretch>
                        <a:fillRect/>
                      </a:stretch>
                    </p:blipFill>
                    <p:spPr>
                      <a:xfrm>
                        <a:off x="1022284" y="1551747"/>
                        <a:ext cx="7114761" cy="511791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Use notes</a:t>
            </a:r>
          </a:p>
        </p:txBody>
      </p:sp>
      <p:sp>
        <p:nvSpPr>
          <p:cNvPr id="11" name="Rectangle 10">
            <a:extLst>
              <a:ext uri="{FF2B5EF4-FFF2-40B4-BE49-F238E27FC236}">
                <a16:creationId xmlns:a16="http://schemas.microsoft.com/office/drawing/2014/main" id="{5C8ADA47-57CD-4AB0-A2CF-332C6A41F920}"/>
              </a:ext>
            </a:extLst>
          </p:cNvPr>
          <p:cNvSpPr/>
          <p:nvPr/>
        </p:nvSpPr>
        <p:spPr>
          <a:xfrm>
            <a:off x="6523631" y="1551747"/>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9961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CE4B9B1D-6200-46F1-BEA0-29A879D544A6}"/>
              </a:ext>
            </a:extLst>
          </p:cNvPr>
          <p:cNvGraphicFramePr>
            <a:graphicFrameLocks noChangeAspect="1"/>
          </p:cNvGraphicFramePr>
          <p:nvPr>
            <p:extLst>
              <p:ext uri="{D42A27DB-BD31-4B8C-83A1-F6EECF244321}">
                <p14:modId xmlns:p14="http://schemas.microsoft.com/office/powerpoint/2010/main" val="1505449979"/>
              </p:ext>
            </p:extLst>
          </p:nvPr>
        </p:nvGraphicFramePr>
        <p:xfrm>
          <a:off x="1050878" y="1690688"/>
          <a:ext cx="9323626" cy="5032848"/>
        </p:xfrm>
        <a:graphic>
          <a:graphicData uri="http://schemas.openxmlformats.org/presentationml/2006/ole">
            <mc:AlternateContent xmlns:mc="http://schemas.openxmlformats.org/markup-compatibility/2006">
              <mc:Choice xmlns:v="urn:schemas-microsoft-com:vml" Requires="v">
                <p:oleObj name="Bitmap Image" r:id="rId2" imgW="12087360" imgH="6524640" progId="Paint.Picture">
                  <p:embed/>
                </p:oleObj>
              </mc:Choice>
              <mc:Fallback>
                <p:oleObj name="Bitmap Image" r:id="rId2" imgW="12087360" imgH="6524640" progId="Paint.Picture">
                  <p:embed/>
                  <p:pic>
                    <p:nvPicPr>
                      <p:cNvPr id="3" name="Object 2">
                        <a:extLst>
                          <a:ext uri="{FF2B5EF4-FFF2-40B4-BE49-F238E27FC236}">
                            <a16:creationId xmlns:a16="http://schemas.microsoft.com/office/drawing/2014/main" id="{CE4B9B1D-6200-46F1-BEA0-29A879D544A6}"/>
                          </a:ext>
                        </a:extLst>
                      </p:cNvPr>
                      <p:cNvPicPr/>
                      <p:nvPr/>
                    </p:nvPicPr>
                    <p:blipFill>
                      <a:blip r:embed="rId3"/>
                      <a:stretch>
                        <a:fillRect/>
                      </a:stretch>
                    </p:blipFill>
                    <p:spPr>
                      <a:xfrm>
                        <a:off x="1050878" y="1690688"/>
                        <a:ext cx="9323626" cy="503284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Draw notes with Inking</a:t>
            </a:r>
          </a:p>
        </p:txBody>
      </p:sp>
      <p:sp>
        <p:nvSpPr>
          <p:cNvPr id="11" name="Rectangle 10">
            <a:extLst>
              <a:ext uri="{FF2B5EF4-FFF2-40B4-BE49-F238E27FC236}">
                <a16:creationId xmlns:a16="http://schemas.microsoft.com/office/drawing/2014/main" id="{5C8ADA47-57CD-4AB0-A2CF-332C6A41F920}"/>
              </a:ext>
            </a:extLst>
          </p:cNvPr>
          <p:cNvSpPr/>
          <p:nvPr/>
        </p:nvSpPr>
        <p:spPr>
          <a:xfrm>
            <a:off x="2151799" y="1690688"/>
            <a:ext cx="441276" cy="2290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830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58E22-C79E-403E-A8DE-60C6B753DC5C}"/>
              </a:ext>
            </a:extLst>
          </p:cNvPr>
          <p:cNvSpPr>
            <a:spLocks noGrp="1"/>
          </p:cNvSpPr>
          <p:nvPr>
            <p:ph type="title"/>
          </p:nvPr>
        </p:nvSpPr>
        <p:spPr/>
        <p:txBody>
          <a:bodyPr/>
          <a:lstStyle/>
          <a:p>
            <a:r>
              <a:rPr lang="en-US"/>
              <a:t>Get blank template</a:t>
            </a:r>
            <a:endParaRPr lang="en-US">
              <a:cs typeface="Calibri Light"/>
            </a:endParaRPr>
          </a:p>
        </p:txBody>
      </p:sp>
      <p:pic>
        <p:nvPicPr>
          <p:cNvPr id="4" name="Picture 4" descr="Graphical user interface, application&#10;&#10;Description automatically generated">
            <a:extLst>
              <a:ext uri="{FF2B5EF4-FFF2-40B4-BE49-F238E27FC236}">
                <a16:creationId xmlns:a16="http://schemas.microsoft.com/office/drawing/2014/main" id="{86A0E7D6-01D4-4DDF-970B-7A99C8245FB2}"/>
              </a:ext>
            </a:extLst>
          </p:cNvPr>
          <p:cNvPicPr>
            <a:picLocks noGrp="1" noChangeAspect="1"/>
          </p:cNvPicPr>
          <p:nvPr>
            <p:ph idx="1"/>
          </p:nvPr>
        </p:nvPicPr>
        <p:blipFill>
          <a:blip r:embed="rId2"/>
          <a:stretch>
            <a:fillRect/>
          </a:stretch>
        </p:blipFill>
        <p:spPr>
          <a:xfrm>
            <a:off x="1763831" y="1825625"/>
            <a:ext cx="8664338" cy="4351338"/>
          </a:xfrm>
        </p:spPr>
      </p:pic>
    </p:spTree>
    <p:extLst>
      <p:ext uri="{BB962C8B-B14F-4D97-AF65-F5344CB8AC3E}">
        <p14:creationId xmlns:p14="http://schemas.microsoft.com/office/powerpoint/2010/main" val="939908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6F935B57-98B8-42A6-AF68-F32BAE4A9B0E}"/>
              </a:ext>
            </a:extLst>
          </p:cNvPr>
          <p:cNvGraphicFramePr>
            <a:graphicFrameLocks noChangeAspect="1"/>
          </p:cNvGraphicFramePr>
          <p:nvPr>
            <p:extLst>
              <p:ext uri="{D42A27DB-BD31-4B8C-83A1-F6EECF244321}">
                <p14:modId xmlns:p14="http://schemas.microsoft.com/office/powerpoint/2010/main" val="1867550087"/>
              </p:ext>
            </p:extLst>
          </p:nvPr>
        </p:nvGraphicFramePr>
        <p:xfrm>
          <a:off x="968991" y="1772417"/>
          <a:ext cx="5368119" cy="4902161"/>
        </p:xfrm>
        <a:graphic>
          <a:graphicData uri="http://schemas.openxmlformats.org/presentationml/2006/ole">
            <mc:AlternateContent xmlns:mc="http://schemas.openxmlformats.org/markup-compatibility/2006">
              <mc:Choice xmlns:v="urn:schemas-microsoft-com:vml" Requires="v">
                <p:oleObj name="Bitmap Image" r:id="rId3" imgW="7095960" imgH="6480000" progId="Paint.Picture">
                  <p:embed/>
                </p:oleObj>
              </mc:Choice>
              <mc:Fallback>
                <p:oleObj name="Bitmap Image" r:id="rId3" imgW="7095960" imgH="6480000" progId="Paint.Picture">
                  <p:embed/>
                  <p:pic>
                    <p:nvPicPr>
                      <p:cNvPr id="2" name="Object 1">
                        <a:extLst>
                          <a:ext uri="{FF2B5EF4-FFF2-40B4-BE49-F238E27FC236}">
                            <a16:creationId xmlns:a16="http://schemas.microsoft.com/office/drawing/2014/main" id="{6F935B57-98B8-42A6-AF68-F32BAE4A9B0E}"/>
                          </a:ext>
                        </a:extLst>
                      </p:cNvPr>
                      <p:cNvPicPr/>
                      <p:nvPr/>
                    </p:nvPicPr>
                    <p:blipFill>
                      <a:blip r:embed="rId4"/>
                      <a:stretch>
                        <a:fillRect/>
                      </a:stretch>
                    </p:blipFill>
                    <p:spPr>
                      <a:xfrm>
                        <a:off x="968991" y="1772417"/>
                        <a:ext cx="5368119" cy="490216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Protect sheet/workbook</a:t>
            </a:r>
          </a:p>
        </p:txBody>
      </p:sp>
      <p:sp>
        <p:nvSpPr>
          <p:cNvPr id="11" name="Rectangle 10">
            <a:extLst>
              <a:ext uri="{FF2B5EF4-FFF2-40B4-BE49-F238E27FC236}">
                <a16:creationId xmlns:a16="http://schemas.microsoft.com/office/drawing/2014/main" id="{5C8ADA47-57CD-4AB0-A2CF-332C6A41F920}"/>
              </a:ext>
            </a:extLst>
          </p:cNvPr>
          <p:cNvSpPr/>
          <p:nvPr/>
        </p:nvSpPr>
        <p:spPr>
          <a:xfrm>
            <a:off x="3439237" y="2002123"/>
            <a:ext cx="1769659" cy="69558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2520E85-5844-4447-AA30-2D7163C94B4D}"/>
              </a:ext>
            </a:extLst>
          </p:cNvPr>
          <p:cNvSpPr/>
          <p:nvPr/>
        </p:nvSpPr>
        <p:spPr>
          <a:xfrm>
            <a:off x="3232247" y="6378054"/>
            <a:ext cx="402608" cy="3623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8554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5A47C16E-36A8-43F6-9CAE-9FB64589628F}"/>
              </a:ext>
            </a:extLst>
          </p:cNvPr>
          <p:cNvGraphicFramePr>
            <a:graphicFrameLocks noChangeAspect="1"/>
          </p:cNvGraphicFramePr>
          <p:nvPr>
            <p:extLst>
              <p:ext uri="{D42A27DB-BD31-4B8C-83A1-F6EECF244321}">
                <p14:modId xmlns:p14="http://schemas.microsoft.com/office/powerpoint/2010/main" val="1912686516"/>
              </p:ext>
            </p:extLst>
          </p:nvPr>
        </p:nvGraphicFramePr>
        <p:xfrm>
          <a:off x="696841" y="1592238"/>
          <a:ext cx="5098907" cy="5175390"/>
        </p:xfrm>
        <a:graphic>
          <a:graphicData uri="http://schemas.openxmlformats.org/presentationml/2006/ole">
            <mc:AlternateContent xmlns:mc="http://schemas.openxmlformats.org/markup-compatibility/2006">
              <mc:Choice xmlns:v="urn:schemas-microsoft-com:vml" Requires="v">
                <p:oleObj name="Bitmap Image" r:id="rId3" imgW="6350040" imgH="6445080" progId="Paint.Picture">
                  <p:embed/>
                </p:oleObj>
              </mc:Choice>
              <mc:Fallback>
                <p:oleObj name="Bitmap Image" r:id="rId3" imgW="6350040" imgH="6445080" progId="Paint.Picture">
                  <p:embed/>
                  <p:pic>
                    <p:nvPicPr>
                      <p:cNvPr id="6" name="Object 5">
                        <a:extLst>
                          <a:ext uri="{FF2B5EF4-FFF2-40B4-BE49-F238E27FC236}">
                            <a16:creationId xmlns:a16="http://schemas.microsoft.com/office/drawing/2014/main" id="{5A47C16E-36A8-43F6-9CAE-9FB64589628F}"/>
                          </a:ext>
                        </a:extLst>
                      </p:cNvPr>
                      <p:cNvPicPr/>
                      <p:nvPr/>
                    </p:nvPicPr>
                    <p:blipFill>
                      <a:blip r:embed="rId4"/>
                      <a:stretch>
                        <a:fillRect/>
                      </a:stretch>
                    </p:blipFill>
                    <p:spPr>
                      <a:xfrm>
                        <a:off x="696841" y="1592238"/>
                        <a:ext cx="5098907" cy="51753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lassify the document</a:t>
            </a:r>
          </a:p>
        </p:txBody>
      </p:sp>
      <p:sp>
        <p:nvSpPr>
          <p:cNvPr id="8" name="Content Placeholder 7">
            <a:extLst>
              <a:ext uri="{FF2B5EF4-FFF2-40B4-BE49-F238E27FC236}">
                <a16:creationId xmlns:a16="http://schemas.microsoft.com/office/drawing/2014/main" id="{3A6A8309-F7F9-4C32-87BB-EB3871054378}"/>
              </a:ext>
            </a:extLst>
          </p:cNvPr>
          <p:cNvSpPr>
            <a:spLocks noGrp="1"/>
          </p:cNvSpPr>
          <p:nvPr>
            <p:ph sz="half" idx="2"/>
          </p:nvPr>
        </p:nvSpPr>
        <p:spPr/>
        <p:txBody>
          <a:bodyPr/>
          <a:lstStyle/>
          <a:p>
            <a:r>
              <a:rPr lang="en-US"/>
              <a:t>Maybe the content is not for everyone?</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5123995" y="1783758"/>
            <a:ext cx="512529" cy="6500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60093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38E51E35-9585-4165-B3AC-98FCCF9D84CB}"/>
              </a:ext>
            </a:extLst>
          </p:cNvPr>
          <p:cNvGraphicFramePr>
            <a:graphicFrameLocks noChangeAspect="1"/>
          </p:cNvGraphicFramePr>
          <p:nvPr>
            <p:extLst>
              <p:ext uri="{D42A27DB-BD31-4B8C-83A1-F6EECF244321}">
                <p14:modId xmlns:p14="http://schemas.microsoft.com/office/powerpoint/2010/main" val="2954294778"/>
              </p:ext>
            </p:extLst>
          </p:nvPr>
        </p:nvGraphicFramePr>
        <p:xfrm>
          <a:off x="927124" y="1439863"/>
          <a:ext cx="4105275" cy="5418137"/>
        </p:xfrm>
        <a:graphic>
          <a:graphicData uri="http://schemas.openxmlformats.org/presentationml/2006/ole">
            <mc:AlternateContent xmlns:mc="http://schemas.openxmlformats.org/markup-compatibility/2006">
              <mc:Choice xmlns:v="urn:schemas-microsoft-com:vml" Requires="v">
                <p:oleObj name="Bitmap Image" r:id="rId3" imgW="5400720" imgH="7128000" progId="Paint.Picture">
                  <p:embed/>
                </p:oleObj>
              </mc:Choice>
              <mc:Fallback>
                <p:oleObj name="Bitmap Image" r:id="rId3" imgW="5400720" imgH="7128000" progId="Paint.Picture">
                  <p:embed/>
                  <p:pic>
                    <p:nvPicPr>
                      <p:cNvPr id="9" name="Object 8">
                        <a:extLst>
                          <a:ext uri="{FF2B5EF4-FFF2-40B4-BE49-F238E27FC236}">
                            <a16:creationId xmlns:a16="http://schemas.microsoft.com/office/drawing/2014/main" id="{38E51E35-9585-4165-B3AC-98FCCF9D84CB}"/>
                          </a:ext>
                        </a:extLst>
                      </p:cNvPr>
                      <p:cNvPicPr/>
                      <p:nvPr/>
                    </p:nvPicPr>
                    <p:blipFill>
                      <a:blip r:embed="rId4"/>
                      <a:stretch>
                        <a:fillRect/>
                      </a:stretch>
                    </p:blipFill>
                    <p:spPr>
                      <a:xfrm>
                        <a:off x="927124" y="1439863"/>
                        <a:ext cx="4105275"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Share the report</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4170531" y="1760561"/>
            <a:ext cx="656227" cy="24566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479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72F83E5A-634C-477F-BFC1-E3882AF1507B}"/>
              </a:ext>
            </a:extLst>
          </p:cNvPr>
          <p:cNvGraphicFramePr>
            <a:graphicFrameLocks noChangeAspect="1"/>
          </p:cNvGraphicFramePr>
          <p:nvPr>
            <p:extLst>
              <p:ext uri="{D42A27DB-BD31-4B8C-83A1-F6EECF244321}">
                <p14:modId xmlns:p14="http://schemas.microsoft.com/office/powerpoint/2010/main" val="482679834"/>
              </p:ext>
            </p:extLst>
          </p:nvPr>
        </p:nvGraphicFramePr>
        <p:xfrm>
          <a:off x="898336" y="1439863"/>
          <a:ext cx="2951163" cy="5418137"/>
        </p:xfrm>
        <a:graphic>
          <a:graphicData uri="http://schemas.openxmlformats.org/presentationml/2006/ole">
            <mc:AlternateContent xmlns:mc="http://schemas.openxmlformats.org/markup-compatibility/2006">
              <mc:Choice xmlns:v="urn:schemas-microsoft-com:vml" Requires="v">
                <p:oleObj name="Bitmap Image" r:id="rId3" imgW="3736800" imgH="6861240" progId="Paint.Picture">
                  <p:embed/>
                </p:oleObj>
              </mc:Choice>
              <mc:Fallback>
                <p:oleObj name="Bitmap Image" r:id="rId3" imgW="3736800" imgH="6861240" progId="Paint.Picture">
                  <p:embed/>
                  <p:pic>
                    <p:nvPicPr>
                      <p:cNvPr id="2" name="Object 1">
                        <a:extLst>
                          <a:ext uri="{FF2B5EF4-FFF2-40B4-BE49-F238E27FC236}">
                            <a16:creationId xmlns:a16="http://schemas.microsoft.com/office/drawing/2014/main" id="{72F83E5A-634C-477F-BFC1-E3882AF1507B}"/>
                          </a:ext>
                        </a:extLst>
                      </p:cNvPr>
                      <p:cNvPicPr/>
                      <p:nvPr/>
                    </p:nvPicPr>
                    <p:blipFill>
                      <a:blip r:embed="rId4"/>
                      <a:stretch>
                        <a:fillRect/>
                      </a:stretch>
                    </p:blipFill>
                    <p:spPr>
                      <a:xfrm>
                        <a:off x="898336" y="1439863"/>
                        <a:ext cx="2951163"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Kick off a Flow</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2250745" y="1988024"/>
            <a:ext cx="533397" cy="7278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35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Using Power Query</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40135916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Power Query in the layout to enrich with external data</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Merge/join the report dataset with data from </a:t>
            </a:r>
          </a:p>
          <a:p>
            <a:pPr lvl="1"/>
            <a:r>
              <a:rPr lang="en-US"/>
              <a:t>SQL Server databases (on-premises or in Azure)</a:t>
            </a:r>
          </a:p>
          <a:p>
            <a:pPr lvl="1"/>
            <a:r>
              <a:rPr lang="en-US"/>
              <a:t>Power BI datasets</a:t>
            </a:r>
          </a:p>
          <a:p>
            <a:pPr lvl="1"/>
            <a:r>
              <a:rPr lang="en-US"/>
              <a:t>Excel Organizational data types</a:t>
            </a:r>
          </a:p>
          <a:p>
            <a:pPr lvl="1"/>
            <a:r>
              <a:rPr lang="en-US" err="1"/>
              <a:t>Sharepoint</a:t>
            </a:r>
            <a:r>
              <a:rPr lang="en-US"/>
              <a:t> lists</a:t>
            </a:r>
          </a:p>
          <a:p>
            <a:pPr lvl="1"/>
            <a:r>
              <a:rPr lang="en-US"/>
              <a:t>Files on </a:t>
            </a:r>
            <a:r>
              <a:rPr lang="en-US" err="1"/>
              <a:t>Onedrive</a:t>
            </a:r>
            <a:r>
              <a:rPr lang="en-US"/>
              <a:t> (Excel, txt, CSV, …)</a:t>
            </a:r>
          </a:p>
          <a:p>
            <a:pPr lvl="1"/>
            <a:r>
              <a:rPr lang="en-US"/>
              <a:t>Data in Azure </a:t>
            </a:r>
            <a:r>
              <a:rPr lang="en-US" err="1"/>
              <a:t>Datalake</a:t>
            </a:r>
            <a:r>
              <a:rPr lang="en-US"/>
              <a:t>/Synapse</a:t>
            </a:r>
          </a:p>
          <a:p>
            <a:pPr lvl="1"/>
            <a:r>
              <a:rPr lang="en-US"/>
              <a:t>APIs (such as weather data or web shops)</a:t>
            </a:r>
          </a:p>
          <a:p>
            <a:pPr lvl="1"/>
            <a:r>
              <a:rPr lang="en-US"/>
              <a:t>…</a:t>
            </a:r>
          </a:p>
        </p:txBody>
      </p:sp>
    </p:spTree>
    <p:extLst>
      <p:ext uri="{BB962C8B-B14F-4D97-AF65-F5344CB8AC3E}">
        <p14:creationId xmlns:p14="http://schemas.microsoft.com/office/powerpoint/2010/main" val="5159699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Files</a:t>
            </a:r>
          </a:p>
        </p:txBody>
      </p:sp>
      <p:graphicFrame>
        <p:nvGraphicFramePr>
          <p:cNvPr id="4" name="Object 3">
            <a:extLst>
              <a:ext uri="{FF2B5EF4-FFF2-40B4-BE49-F238E27FC236}">
                <a16:creationId xmlns:a16="http://schemas.microsoft.com/office/drawing/2014/main" id="{A14B2C6D-8150-4C32-97E6-E93F464BF057}"/>
              </a:ext>
            </a:extLst>
          </p:cNvPr>
          <p:cNvGraphicFramePr>
            <a:graphicFrameLocks noChangeAspect="1"/>
          </p:cNvGraphicFramePr>
          <p:nvPr>
            <p:extLst>
              <p:ext uri="{D42A27DB-BD31-4B8C-83A1-F6EECF244321}">
                <p14:modId xmlns:p14="http://schemas.microsoft.com/office/powerpoint/2010/main" val="1472821305"/>
              </p:ext>
            </p:extLst>
          </p:nvPr>
        </p:nvGraphicFramePr>
        <p:xfrm>
          <a:off x="838200" y="1793922"/>
          <a:ext cx="4200525" cy="4822825"/>
        </p:xfrm>
        <a:graphic>
          <a:graphicData uri="http://schemas.openxmlformats.org/presentationml/2006/ole">
            <mc:AlternateContent xmlns:mc="http://schemas.openxmlformats.org/markup-compatibility/2006">
              <mc:Choice xmlns:v="urn:schemas-microsoft-com:vml" Requires="v">
                <p:oleObj name="Bitmap Image" r:id="rId2" imgW="4200480" imgH="4822920" progId="Paint.Picture">
                  <p:embed/>
                </p:oleObj>
              </mc:Choice>
              <mc:Fallback>
                <p:oleObj name="Bitmap Image" r:id="rId2" imgW="4200480" imgH="4822920" progId="Paint.Picture">
                  <p:embed/>
                  <p:pic>
                    <p:nvPicPr>
                      <p:cNvPr id="4" name="Object 3">
                        <a:extLst>
                          <a:ext uri="{FF2B5EF4-FFF2-40B4-BE49-F238E27FC236}">
                            <a16:creationId xmlns:a16="http://schemas.microsoft.com/office/drawing/2014/main" id="{A14B2C6D-8150-4C32-97E6-E93F464BF057}"/>
                          </a:ext>
                        </a:extLst>
                      </p:cNvPr>
                      <p:cNvPicPr/>
                      <p:nvPr/>
                    </p:nvPicPr>
                    <p:blipFill>
                      <a:blip r:embed="rId3"/>
                      <a:stretch>
                        <a:fillRect/>
                      </a:stretch>
                    </p:blipFill>
                    <p:spPr>
                      <a:xfrm>
                        <a:off x="838200" y="1793922"/>
                        <a:ext cx="4200525" cy="4822825"/>
                      </a:xfrm>
                      <a:prstGeom prst="rect">
                        <a:avLst/>
                      </a:prstGeom>
                    </p:spPr>
                  </p:pic>
                </p:oleObj>
              </mc:Fallback>
            </mc:AlternateContent>
          </a:graphicData>
        </a:graphic>
      </p:graphicFrame>
    </p:spTree>
    <p:extLst>
      <p:ext uri="{BB962C8B-B14F-4D97-AF65-F5344CB8AC3E}">
        <p14:creationId xmlns:p14="http://schemas.microsoft.com/office/powerpoint/2010/main" val="24115177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Databases</a:t>
            </a:r>
          </a:p>
        </p:txBody>
      </p:sp>
      <p:graphicFrame>
        <p:nvGraphicFramePr>
          <p:cNvPr id="3" name="Object 2">
            <a:extLst>
              <a:ext uri="{FF2B5EF4-FFF2-40B4-BE49-F238E27FC236}">
                <a16:creationId xmlns:a16="http://schemas.microsoft.com/office/drawing/2014/main" id="{F69BBEE2-65EC-4FC9-8285-6301B3AA9B43}"/>
              </a:ext>
            </a:extLst>
          </p:cNvPr>
          <p:cNvGraphicFramePr>
            <a:graphicFrameLocks noChangeAspect="1"/>
          </p:cNvGraphicFramePr>
          <p:nvPr>
            <p:extLst>
              <p:ext uri="{D42A27DB-BD31-4B8C-83A1-F6EECF244321}">
                <p14:modId xmlns:p14="http://schemas.microsoft.com/office/powerpoint/2010/main" val="2297550648"/>
              </p:ext>
            </p:extLst>
          </p:nvPr>
        </p:nvGraphicFramePr>
        <p:xfrm>
          <a:off x="955344" y="1543302"/>
          <a:ext cx="4754136" cy="5183742"/>
        </p:xfrm>
        <a:graphic>
          <a:graphicData uri="http://schemas.openxmlformats.org/presentationml/2006/ole">
            <mc:AlternateContent xmlns:mc="http://schemas.openxmlformats.org/markup-compatibility/2006">
              <mc:Choice xmlns:v="urn:schemas-microsoft-com:vml" Requires="v">
                <p:oleObj name="Bitmap Image" r:id="rId2" imgW="5832360" imgH="6359400" progId="Paint.Picture">
                  <p:embed/>
                </p:oleObj>
              </mc:Choice>
              <mc:Fallback>
                <p:oleObj name="Bitmap Image" r:id="rId2" imgW="5832360" imgH="6359400" progId="Paint.Picture">
                  <p:embed/>
                  <p:pic>
                    <p:nvPicPr>
                      <p:cNvPr id="3" name="Object 2">
                        <a:extLst>
                          <a:ext uri="{FF2B5EF4-FFF2-40B4-BE49-F238E27FC236}">
                            <a16:creationId xmlns:a16="http://schemas.microsoft.com/office/drawing/2014/main" id="{F69BBEE2-65EC-4FC9-8285-6301B3AA9B43}"/>
                          </a:ext>
                        </a:extLst>
                      </p:cNvPr>
                      <p:cNvPicPr/>
                      <p:nvPr/>
                    </p:nvPicPr>
                    <p:blipFill>
                      <a:blip r:embed="rId3"/>
                      <a:stretch>
                        <a:fillRect/>
                      </a:stretch>
                    </p:blipFill>
                    <p:spPr>
                      <a:xfrm>
                        <a:off x="955344" y="1543302"/>
                        <a:ext cx="4754136" cy="5183742"/>
                      </a:xfrm>
                      <a:prstGeom prst="rect">
                        <a:avLst/>
                      </a:prstGeom>
                    </p:spPr>
                  </p:pic>
                </p:oleObj>
              </mc:Fallback>
            </mc:AlternateContent>
          </a:graphicData>
        </a:graphic>
      </p:graphicFrame>
    </p:spTree>
    <p:extLst>
      <p:ext uri="{BB962C8B-B14F-4D97-AF65-F5344CB8AC3E}">
        <p14:creationId xmlns:p14="http://schemas.microsoft.com/office/powerpoint/2010/main" val="34869091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data stores</a:t>
            </a:r>
          </a:p>
        </p:txBody>
      </p:sp>
      <p:graphicFrame>
        <p:nvGraphicFramePr>
          <p:cNvPr id="4" name="Object 3">
            <a:extLst>
              <a:ext uri="{FF2B5EF4-FFF2-40B4-BE49-F238E27FC236}">
                <a16:creationId xmlns:a16="http://schemas.microsoft.com/office/drawing/2014/main" id="{4FCA8B5B-92D7-40C6-9040-344E8BA08561}"/>
              </a:ext>
            </a:extLst>
          </p:cNvPr>
          <p:cNvGraphicFramePr>
            <a:graphicFrameLocks noChangeAspect="1"/>
          </p:cNvGraphicFramePr>
          <p:nvPr>
            <p:extLst>
              <p:ext uri="{D42A27DB-BD31-4B8C-83A1-F6EECF244321}">
                <p14:modId xmlns:p14="http://schemas.microsoft.com/office/powerpoint/2010/main" val="3651010244"/>
              </p:ext>
            </p:extLst>
          </p:nvPr>
        </p:nvGraphicFramePr>
        <p:xfrm>
          <a:off x="914709" y="1506039"/>
          <a:ext cx="4930775" cy="4879975"/>
        </p:xfrm>
        <a:graphic>
          <a:graphicData uri="http://schemas.openxmlformats.org/presentationml/2006/ole">
            <mc:AlternateContent xmlns:mc="http://schemas.openxmlformats.org/markup-compatibility/2006">
              <mc:Choice xmlns:v="urn:schemas-microsoft-com:vml" Requires="v">
                <p:oleObj name="Bitmap Image" r:id="rId2" imgW="4930920" imgH="4879800" progId="Paint.Picture">
                  <p:embed/>
                </p:oleObj>
              </mc:Choice>
              <mc:Fallback>
                <p:oleObj name="Bitmap Image" r:id="rId2" imgW="4930920" imgH="4879800" progId="Paint.Picture">
                  <p:embed/>
                  <p:pic>
                    <p:nvPicPr>
                      <p:cNvPr id="4" name="Object 3">
                        <a:extLst>
                          <a:ext uri="{FF2B5EF4-FFF2-40B4-BE49-F238E27FC236}">
                            <a16:creationId xmlns:a16="http://schemas.microsoft.com/office/drawing/2014/main" id="{4FCA8B5B-92D7-40C6-9040-344E8BA08561}"/>
                          </a:ext>
                        </a:extLst>
                      </p:cNvPr>
                      <p:cNvPicPr/>
                      <p:nvPr/>
                    </p:nvPicPr>
                    <p:blipFill>
                      <a:blip r:embed="rId3"/>
                      <a:stretch>
                        <a:fillRect/>
                      </a:stretch>
                    </p:blipFill>
                    <p:spPr>
                      <a:xfrm>
                        <a:off x="914709" y="1506039"/>
                        <a:ext cx="4930775" cy="4879975"/>
                      </a:xfrm>
                      <a:prstGeom prst="rect">
                        <a:avLst/>
                      </a:prstGeom>
                    </p:spPr>
                  </p:pic>
                </p:oleObj>
              </mc:Fallback>
            </mc:AlternateContent>
          </a:graphicData>
        </a:graphic>
      </p:graphicFrame>
    </p:spTree>
    <p:extLst>
      <p:ext uri="{BB962C8B-B14F-4D97-AF65-F5344CB8AC3E}">
        <p14:creationId xmlns:p14="http://schemas.microsoft.com/office/powerpoint/2010/main" val="14502642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services</a:t>
            </a:r>
          </a:p>
        </p:txBody>
      </p:sp>
      <p:graphicFrame>
        <p:nvGraphicFramePr>
          <p:cNvPr id="3" name="Object 2">
            <a:extLst>
              <a:ext uri="{FF2B5EF4-FFF2-40B4-BE49-F238E27FC236}">
                <a16:creationId xmlns:a16="http://schemas.microsoft.com/office/drawing/2014/main" id="{370D2163-63A1-48B9-9BD5-BA981E6AE3C1}"/>
              </a:ext>
            </a:extLst>
          </p:cNvPr>
          <p:cNvGraphicFramePr>
            <a:graphicFrameLocks noChangeAspect="1"/>
          </p:cNvGraphicFramePr>
          <p:nvPr>
            <p:extLst>
              <p:ext uri="{D42A27DB-BD31-4B8C-83A1-F6EECF244321}">
                <p14:modId xmlns:p14="http://schemas.microsoft.com/office/powerpoint/2010/main" val="1535396175"/>
              </p:ext>
            </p:extLst>
          </p:nvPr>
        </p:nvGraphicFramePr>
        <p:xfrm>
          <a:off x="955699" y="1625269"/>
          <a:ext cx="4657725" cy="4905375"/>
        </p:xfrm>
        <a:graphic>
          <a:graphicData uri="http://schemas.openxmlformats.org/presentationml/2006/ole">
            <mc:AlternateContent xmlns:mc="http://schemas.openxmlformats.org/markup-compatibility/2006">
              <mc:Choice xmlns:v="urn:schemas-microsoft-com:vml" Requires="v">
                <p:oleObj name="Bitmap Image" r:id="rId2" imgW="4657680" imgH="4905360" progId="Paint.Picture">
                  <p:embed/>
                </p:oleObj>
              </mc:Choice>
              <mc:Fallback>
                <p:oleObj name="Bitmap Image" r:id="rId2" imgW="4657680" imgH="4905360" progId="Paint.Picture">
                  <p:embed/>
                  <p:pic>
                    <p:nvPicPr>
                      <p:cNvPr id="3" name="Object 2">
                        <a:extLst>
                          <a:ext uri="{FF2B5EF4-FFF2-40B4-BE49-F238E27FC236}">
                            <a16:creationId xmlns:a16="http://schemas.microsoft.com/office/drawing/2014/main" id="{370D2163-63A1-48B9-9BD5-BA981E6AE3C1}"/>
                          </a:ext>
                        </a:extLst>
                      </p:cNvPr>
                      <p:cNvPicPr/>
                      <p:nvPr/>
                    </p:nvPicPr>
                    <p:blipFill>
                      <a:blip r:embed="rId3"/>
                      <a:stretch>
                        <a:fillRect/>
                      </a:stretch>
                    </p:blipFill>
                    <p:spPr>
                      <a:xfrm>
                        <a:off x="955699" y="1625269"/>
                        <a:ext cx="4657725" cy="4905375"/>
                      </a:xfrm>
                      <a:prstGeom prst="rect">
                        <a:avLst/>
                      </a:prstGeom>
                    </p:spPr>
                  </p:pic>
                </p:oleObj>
              </mc:Fallback>
            </mc:AlternateContent>
          </a:graphicData>
        </a:graphic>
      </p:graphicFrame>
    </p:spTree>
    <p:extLst>
      <p:ext uri="{BB962C8B-B14F-4D97-AF65-F5344CB8AC3E}">
        <p14:creationId xmlns:p14="http://schemas.microsoft.com/office/powerpoint/2010/main" val="1275269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D328-2701-4F04-B6E2-5FB69AC86FC0}"/>
              </a:ext>
            </a:extLst>
          </p:cNvPr>
          <p:cNvSpPr>
            <a:spLocks noGrp="1"/>
          </p:cNvSpPr>
          <p:nvPr>
            <p:ph type="title"/>
          </p:nvPr>
        </p:nvSpPr>
        <p:spPr/>
        <p:txBody>
          <a:bodyPr/>
          <a:lstStyle/>
          <a:p>
            <a:r>
              <a:rPr lang="en-US"/>
              <a:t>Get blank template</a:t>
            </a:r>
            <a:endParaRPr lang="en-US">
              <a:ea typeface="+mj-lt"/>
              <a:cs typeface="+mj-lt"/>
            </a:endParaRPr>
          </a:p>
        </p:txBody>
      </p:sp>
      <p:pic>
        <p:nvPicPr>
          <p:cNvPr id="4" name="Picture 4" descr="Graphical user interface, text, application&#10;&#10;Description automatically generated">
            <a:extLst>
              <a:ext uri="{FF2B5EF4-FFF2-40B4-BE49-F238E27FC236}">
                <a16:creationId xmlns:a16="http://schemas.microsoft.com/office/drawing/2014/main" id="{E9C2F12F-D576-4C81-A84D-53901A78F19D}"/>
              </a:ext>
            </a:extLst>
          </p:cNvPr>
          <p:cNvPicPr>
            <a:picLocks noGrp="1" noChangeAspect="1"/>
          </p:cNvPicPr>
          <p:nvPr>
            <p:ph idx="1"/>
          </p:nvPr>
        </p:nvPicPr>
        <p:blipFill>
          <a:blip r:embed="rId2"/>
          <a:stretch>
            <a:fillRect/>
          </a:stretch>
        </p:blipFill>
        <p:spPr>
          <a:xfrm>
            <a:off x="4444921" y="1825625"/>
            <a:ext cx="3302158" cy="4351338"/>
          </a:xfrm>
        </p:spPr>
      </p:pic>
      <p:sp>
        <p:nvSpPr>
          <p:cNvPr id="6" name="Rectangle 5">
            <a:extLst>
              <a:ext uri="{FF2B5EF4-FFF2-40B4-BE49-F238E27FC236}">
                <a16:creationId xmlns:a16="http://schemas.microsoft.com/office/drawing/2014/main" id="{4DF379E8-9D33-40FA-BDA0-4F5A6457B02D}"/>
              </a:ext>
            </a:extLst>
          </p:cNvPr>
          <p:cNvSpPr/>
          <p:nvPr/>
        </p:nvSpPr>
        <p:spPr>
          <a:xfrm>
            <a:off x="4944658" y="4093882"/>
            <a:ext cx="1541307" cy="21814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76248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Other sources</a:t>
            </a:r>
          </a:p>
        </p:txBody>
      </p:sp>
      <p:graphicFrame>
        <p:nvGraphicFramePr>
          <p:cNvPr id="4" name="Object 3">
            <a:extLst>
              <a:ext uri="{FF2B5EF4-FFF2-40B4-BE49-F238E27FC236}">
                <a16:creationId xmlns:a16="http://schemas.microsoft.com/office/drawing/2014/main" id="{5FB64B20-9526-4508-952E-201104CCC9F1}"/>
              </a:ext>
            </a:extLst>
          </p:cNvPr>
          <p:cNvGraphicFramePr>
            <a:graphicFrameLocks noChangeAspect="1"/>
          </p:cNvGraphicFramePr>
          <p:nvPr>
            <p:extLst>
              <p:ext uri="{D42A27DB-BD31-4B8C-83A1-F6EECF244321}">
                <p14:modId xmlns:p14="http://schemas.microsoft.com/office/powerpoint/2010/main" val="2644179796"/>
              </p:ext>
            </p:extLst>
          </p:nvPr>
        </p:nvGraphicFramePr>
        <p:xfrm>
          <a:off x="994017" y="1555845"/>
          <a:ext cx="3250651" cy="4862703"/>
        </p:xfrm>
        <a:graphic>
          <a:graphicData uri="http://schemas.openxmlformats.org/presentationml/2006/ole">
            <mc:AlternateContent xmlns:mc="http://schemas.openxmlformats.org/markup-compatibility/2006">
              <mc:Choice xmlns:v="urn:schemas-microsoft-com:vml" Requires="v">
                <p:oleObj name="Bitmap Image" r:id="rId2" imgW="4276800" imgH="6397560" progId="Paint.Picture">
                  <p:embed/>
                </p:oleObj>
              </mc:Choice>
              <mc:Fallback>
                <p:oleObj name="Bitmap Image" r:id="rId2" imgW="4276800" imgH="6397560" progId="Paint.Picture">
                  <p:embed/>
                  <p:pic>
                    <p:nvPicPr>
                      <p:cNvPr id="4" name="Object 3">
                        <a:extLst>
                          <a:ext uri="{FF2B5EF4-FFF2-40B4-BE49-F238E27FC236}">
                            <a16:creationId xmlns:a16="http://schemas.microsoft.com/office/drawing/2014/main" id="{5FB64B20-9526-4508-952E-201104CCC9F1}"/>
                          </a:ext>
                        </a:extLst>
                      </p:cNvPr>
                      <p:cNvPicPr/>
                      <p:nvPr/>
                    </p:nvPicPr>
                    <p:blipFill>
                      <a:blip r:embed="rId3"/>
                      <a:stretch>
                        <a:fillRect/>
                      </a:stretch>
                    </p:blipFill>
                    <p:spPr>
                      <a:xfrm>
                        <a:off x="994017" y="1555845"/>
                        <a:ext cx="3250651" cy="4862703"/>
                      </a:xfrm>
                      <a:prstGeom prst="rect">
                        <a:avLst/>
                      </a:prstGeom>
                    </p:spPr>
                  </p:pic>
                </p:oleObj>
              </mc:Fallback>
            </mc:AlternateContent>
          </a:graphicData>
        </a:graphic>
      </p:graphicFrame>
    </p:spTree>
    <p:extLst>
      <p:ext uri="{BB962C8B-B14F-4D97-AF65-F5344CB8AC3E}">
        <p14:creationId xmlns:p14="http://schemas.microsoft.com/office/powerpoint/2010/main" val="34962774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9D8B7A-F9A3-4E3E-8D4E-6ABFFEBB2EA6}"/>
              </a:ext>
            </a:extLst>
          </p:cNvPr>
          <p:cNvSpPr>
            <a:spLocks noGrp="1"/>
          </p:cNvSpPr>
          <p:nvPr>
            <p:ph type="title"/>
          </p:nvPr>
        </p:nvSpPr>
        <p:spPr/>
        <p:txBody>
          <a:bodyPr/>
          <a:lstStyle/>
          <a:p>
            <a:r>
              <a:rPr lang="en-US"/>
              <a:t>Tips and Tricks</a:t>
            </a:r>
          </a:p>
        </p:txBody>
      </p:sp>
      <p:sp>
        <p:nvSpPr>
          <p:cNvPr id="5" name="Text Placeholder 4">
            <a:extLst>
              <a:ext uri="{FF2B5EF4-FFF2-40B4-BE49-F238E27FC236}">
                <a16:creationId xmlns:a16="http://schemas.microsoft.com/office/drawing/2014/main" id="{12D80A92-6731-4827-9722-52DDC2C03E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22768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55CD42-10A4-45D1-8100-0ECE0A6B8253}"/>
              </a:ext>
            </a:extLst>
          </p:cNvPr>
          <p:cNvSpPr>
            <a:spLocks noGrp="1"/>
          </p:cNvSpPr>
          <p:nvPr>
            <p:ph type="title"/>
          </p:nvPr>
        </p:nvSpPr>
        <p:spPr/>
        <p:txBody>
          <a:bodyPr/>
          <a:lstStyle/>
          <a:p>
            <a:r>
              <a:rPr lang="en-US"/>
              <a:t>Do you have code samples?</a:t>
            </a:r>
          </a:p>
        </p:txBody>
      </p:sp>
      <p:sp>
        <p:nvSpPr>
          <p:cNvPr id="5" name="Content Placeholder 4">
            <a:extLst>
              <a:ext uri="{FF2B5EF4-FFF2-40B4-BE49-F238E27FC236}">
                <a16:creationId xmlns:a16="http://schemas.microsoft.com/office/drawing/2014/main" id="{0C781732-2215-4599-BEE5-E7A4926CF410}"/>
              </a:ext>
            </a:extLst>
          </p:cNvPr>
          <p:cNvSpPr>
            <a:spLocks noGrp="1"/>
          </p:cNvSpPr>
          <p:nvPr>
            <p:ph idx="1"/>
          </p:nvPr>
        </p:nvSpPr>
        <p:spPr/>
        <p:txBody>
          <a:bodyPr/>
          <a:lstStyle/>
          <a:p>
            <a:pPr marL="0" indent="0">
              <a:buNone/>
            </a:pPr>
            <a:r>
              <a:rPr lang="en-US"/>
              <a:t>Yes, please visit</a:t>
            </a:r>
          </a:p>
          <a:p>
            <a:pPr marL="0" indent="0">
              <a:buNone/>
            </a:pPr>
            <a:r>
              <a:rPr lang="en-US">
                <a:hlinkClick r:id="rId2"/>
              </a:rPr>
              <a:t>https://aka.ms/bcexcelsamples</a:t>
            </a:r>
            <a:r>
              <a:rPr lang="en-US"/>
              <a:t> </a:t>
            </a:r>
          </a:p>
        </p:txBody>
      </p:sp>
    </p:spTree>
    <p:extLst>
      <p:ext uri="{BB962C8B-B14F-4D97-AF65-F5344CB8AC3E}">
        <p14:creationId xmlns:p14="http://schemas.microsoft.com/office/powerpoint/2010/main" val="3438115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EC08-74F5-41FB-B845-86AE5C027CB6}"/>
              </a:ext>
            </a:extLst>
          </p:cNvPr>
          <p:cNvSpPr>
            <a:spLocks noGrp="1"/>
          </p:cNvSpPr>
          <p:nvPr>
            <p:ph type="title"/>
          </p:nvPr>
        </p:nvSpPr>
        <p:spPr/>
        <p:txBody>
          <a:bodyPr/>
          <a:lstStyle/>
          <a:p>
            <a:r>
              <a:rPr lang="en-US"/>
              <a:t>I just want the report data in Excel</a:t>
            </a:r>
          </a:p>
        </p:txBody>
      </p:sp>
      <p:sp>
        <p:nvSpPr>
          <p:cNvPr id="3" name="Content Placeholder 2">
            <a:extLst>
              <a:ext uri="{FF2B5EF4-FFF2-40B4-BE49-F238E27FC236}">
                <a16:creationId xmlns:a16="http://schemas.microsoft.com/office/drawing/2014/main" id="{DE40DC2F-BD93-4D49-8D1A-32056B7820C6}"/>
              </a:ext>
            </a:extLst>
          </p:cNvPr>
          <p:cNvSpPr>
            <a:spLocks noGrp="1"/>
          </p:cNvSpPr>
          <p:nvPr>
            <p:ph idx="1"/>
          </p:nvPr>
        </p:nvSpPr>
        <p:spPr/>
        <p:txBody>
          <a:bodyPr/>
          <a:lstStyle/>
          <a:p>
            <a:r>
              <a:rPr lang="en-US"/>
              <a:t>Tip: Just use request page, Schedule, Excel Document (Data only)</a:t>
            </a:r>
          </a:p>
          <a:p>
            <a:endParaRPr lang="en-US"/>
          </a:p>
          <a:p>
            <a:r>
              <a:rPr lang="en-US"/>
              <a:t>Quick tip: do it with an Excel layout if you want to remove columns you don’t need from the Data worksheet (Yes, you can do that)</a:t>
            </a:r>
          </a:p>
          <a:p>
            <a:endParaRPr lang="en-US"/>
          </a:p>
          <a:p>
            <a:r>
              <a:rPr lang="en-US"/>
              <a:t>Advanced tip: Consider doing some data manipulation in Power Query. Just the things you always do</a:t>
            </a:r>
          </a:p>
        </p:txBody>
      </p:sp>
    </p:spTree>
    <p:extLst>
      <p:ext uri="{BB962C8B-B14F-4D97-AF65-F5344CB8AC3E}">
        <p14:creationId xmlns:p14="http://schemas.microsoft.com/office/powerpoint/2010/main" val="32410125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a:t>
            </a:r>
            <a:r>
              <a:rPr lang="en-US" err="1"/>
              <a:t>to</a:t>
            </a:r>
            <a:r>
              <a:rPr lang="en-US"/>
              <a:t> create a layout from scratch, but I don’t know what might be useful to show</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a:xfrm>
            <a:off x="838200" y="1825625"/>
            <a:ext cx="10515600" cy="794745"/>
          </a:xfrm>
        </p:spPr>
        <p:txBody>
          <a:bodyPr/>
          <a:lstStyle/>
          <a:p>
            <a:r>
              <a:rPr lang="en-US"/>
              <a:t>Tip: Try using Analyze Data and just add the insights to the layout </a:t>
            </a:r>
          </a:p>
          <a:p>
            <a:endParaRPr lang="en-US"/>
          </a:p>
        </p:txBody>
      </p:sp>
      <p:graphicFrame>
        <p:nvGraphicFramePr>
          <p:cNvPr id="5" name="Object 4">
            <a:extLst>
              <a:ext uri="{FF2B5EF4-FFF2-40B4-BE49-F238E27FC236}">
                <a16:creationId xmlns:a16="http://schemas.microsoft.com/office/drawing/2014/main" id="{D86E47A8-F848-4D9B-B409-9028FBE34702}"/>
              </a:ext>
            </a:extLst>
          </p:cNvPr>
          <p:cNvGraphicFramePr>
            <a:graphicFrameLocks noChangeAspect="1"/>
          </p:cNvGraphicFramePr>
          <p:nvPr>
            <p:extLst>
              <p:ext uri="{D42A27DB-BD31-4B8C-83A1-F6EECF244321}">
                <p14:modId xmlns:p14="http://schemas.microsoft.com/office/powerpoint/2010/main" val="428377130"/>
              </p:ext>
            </p:extLst>
          </p:nvPr>
        </p:nvGraphicFramePr>
        <p:xfrm>
          <a:off x="838200" y="2755307"/>
          <a:ext cx="7955401" cy="4102693"/>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D86E47A8-F848-4D9B-B409-9028FBE34702}"/>
                          </a:ext>
                        </a:extLst>
                      </p:cNvPr>
                      <p:cNvPicPr/>
                      <p:nvPr/>
                    </p:nvPicPr>
                    <p:blipFill>
                      <a:blip r:embed="rId3"/>
                      <a:stretch>
                        <a:fillRect/>
                      </a:stretch>
                    </p:blipFill>
                    <p:spPr>
                      <a:xfrm>
                        <a:off x="838200" y="2755307"/>
                        <a:ext cx="7955401" cy="410269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AAF1AD-765E-4277-AD07-63CEA9A57E23}"/>
              </a:ext>
            </a:extLst>
          </p:cNvPr>
          <p:cNvSpPr/>
          <p:nvPr/>
        </p:nvSpPr>
        <p:spPr>
          <a:xfrm>
            <a:off x="7579058" y="2693610"/>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D070F1-1DAB-4B61-9E2B-A5E905C006A4}"/>
              </a:ext>
            </a:extLst>
          </p:cNvPr>
          <p:cNvSpPr/>
          <p:nvPr/>
        </p:nvSpPr>
        <p:spPr>
          <a:xfrm>
            <a:off x="6787488" y="6323462"/>
            <a:ext cx="932596" cy="2911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722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manipulate data and show it in a worksheet</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Tip: learn about table formulas in Excel</a:t>
            </a:r>
          </a:p>
          <a:p>
            <a:endParaRPr lang="en-US"/>
          </a:p>
          <a:p>
            <a:r>
              <a:rPr lang="en-US"/>
              <a:t>Advanced tip: Do it in Power Query</a:t>
            </a:r>
          </a:p>
          <a:p>
            <a:endParaRPr lang="en-US"/>
          </a:p>
          <a:p>
            <a:endParaRPr lang="en-US"/>
          </a:p>
        </p:txBody>
      </p:sp>
    </p:spTree>
    <p:extLst>
      <p:ext uri="{BB962C8B-B14F-4D97-AF65-F5344CB8AC3E}">
        <p14:creationId xmlns:p14="http://schemas.microsoft.com/office/powerpoint/2010/main" val="22535011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use nice headings in the pivot tables</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Just rename fields in the Pivot table</a:t>
            </a:r>
          </a:p>
          <a:p>
            <a:endParaRPr lang="en-US"/>
          </a:p>
          <a:p>
            <a:r>
              <a:rPr lang="en-US"/>
              <a:t>Do not rename fields in the Data worksheet (remember the contract)</a:t>
            </a:r>
          </a:p>
        </p:txBody>
      </p:sp>
    </p:spTree>
    <p:extLst>
      <p:ext uri="{BB962C8B-B14F-4D97-AF65-F5344CB8AC3E}">
        <p14:creationId xmlns:p14="http://schemas.microsoft.com/office/powerpoint/2010/main" val="21135542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FE117-8921-43BE-BE14-91CD80C09F70}"/>
              </a:ext>
            </a:extLst>
          </p:cNvPr>
          <p:cNvSpPr>
            <a:spLocks noGrp="1"/>
          </p:cNvSpPr>
          <p:nvPr>
            <p:ph type="title"/>
          </p:nvPr>
        </p:nvSpPr>
        <p:spPr/>
        <p:txBody>
          <a:bodyPr/>
          <a:lstStyle/>
          <a:p>
            <a:r>
              <a:rPr lang="en-US"/>
              <a:t>I want to use the report as a data source</a:t>
            </a:r>
          </a:p>
        </p:txBody>
      </p:sp>
      <p:sp>
        <p:nvSpPr>
          <p:cNvPr id="3" name="Content Placeholder 2">
            <a:extLst>
              <a:ext uri="{FF2B5EF4-FFF2-40B4-BE49-F238E27FC236}">
                <a16:creationId xmlns:a16="http://schemas.microsoft.com/office/drawing/2014/main" id="{612E6F74-48BA-4D23-9F9F-E0565D7935EB}"/>
              </a:ext>
            </a:extLst>
          </p:cNvPr>
          <p:cNvSpPr>
            <a:spLocks noGrp="1"/>
          </p:cNvSpPr>
          <p:nvPr>
            <p:ph idx="1"/>
          </p:nvPr>
        </p:nvSpPr>
        <p:spPr/>
        <p:txBody>
          <a:bodyPr/>
          <a:lstStyle/>
          <a:p>
            <a:r>
              <a:rPr lang="en-GB">
                <a:cs typeface="Calibri"/>
              </a:rPr>
              <a:t>Every night update an Excel workbook stored in a ‘public’ place (e.g. </a:t>
            </a:r>
            <a:r>
              <a:rPr lang="en-GB" err="1">
                <a:cs typeface="Calibri"/>
              </a:rPr>
              <a:t>Onedrive</a:t>
            </a:r>
            <a:r>
              <a:rPr lang="en-GB">
                <a:cs typeface="Calibri"/>
              </a:rPr>
              <a:t>)</a:t>
            </a:r>
          </a:p>
          <a:p>
            <a:endParaRPr lang="en-GB">
              <a:cs typeface="Calibri"/>
            </a:endParaRPr>
          </a:p>
          <a:p>
            <a:r>
              <a:rPr lang="en-GB">
                <a:cs typeface="Calibri"/>
              </a:rPr>
              <a:t>Using Power Query, other Excel workbooks (or Power BI) use the report as data source. </a:t>
            </a:r>
          </a:p>
          <a:p>
            <a:endParaRPr lang="en-GB">
              <a:cs typeface="Calibri"/>
            </a:endParaRPr>
          </a:p>
          <a:p>
            <a:r>
              <a:rPr lang="en-GB">
                <a:cs typeface="Calibri"/>
              </a:rPr>
              <a:t>You effectively have your report dataset exposed to Power BI</a:t>
            </a:r>
            <a:endParaRPr lang="en-US">
              <a:cs typeface="Calibri"/>
            </a:endParaRPr>
          </a:p>
        </p:txBody>
      </p:sp>
    </p:spTree>
    <p:extLst>
      <p:ext uri="{BB962C8B-B14F-4D97-AF65-F5344CB8AC3E}">
        <p14:creationId xmlns:p14="http://schemas.microsoft.com/office/powerpoint/2010/main" val="34448446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736C2-37D1-A6E6-7577-ECE992C1C7D1}"/>
              </a:ext>
            </a:extLst>
          </p:cNvPr>
          <p:cNvSpPr>
            <a:spLocks noGrp="1"/>
          </p:cNvSpPr>
          <p:nvPr>
            <p:ph type="title"/>
          </p:nvPr>
        </p:nvSpPr>
        <p:spPr/>
        <p:txBody>
          <a:bodyPr/>
          <a:lstStyle/>
          <a:p>
            <a:r>
              <a:rPr lang="en-US" dirty="0"/>
              <a:t>Links</a:t>
            </a:r>
            <a:endParaRPr lang="en-DK" dirty="0"/>
          </a:p>
        </p:txBody>
      </p:sp>
      <p:sp>
        <p:nvSpPr>
          <p:cNvPr id="3" name="Content Placeholder 2">
            <a:extLst>
              <a:ext uri="{FF2B5EF4-FFF2-40B4-BE49-F238E27FC236}">
                <a16:creationId xmlns:a16="http://schemas.microsoft.com/office/drawing/2014/main" id="{FD2AA8D0-49A8-4B22-7EC5-91B20BC78B49}"/>
              </a:ext>
            </a:extLst>
          </p:cNvPr>
          <p:cNvSpPr>
            <a:spLocks noGrp="1"/>
          </p:cNvSpPr>
          <p:nvPr>
            <p:ph idx="1"/>
          </p:nvPr>
        </p:nvSpPr>
        <p:spPr/>
        <p:txBody>
          <a:bodyPr/>
          <a:lstStyle/>
          <a:p>
            <a:r>
              <a:rPr lang="en-US" dirty="0"/>
              <a:t>Documentation: </a:t>
            </a:r>
          </a:p>
          <a:p>
            <a:pPr lvl="1"/>
            <a:r>
              <a:rPr lang="en-US" dirty="0"/>
              <a:t>aka.ms/</a:t>
            </a:r>
            <a:r>
              <a:rPr lang="en-US" dirty="0" err="1"/>
              <a:t>bcreporting</a:t>
            </a:r>
            <a:endParaRPr lang="en-US" dirty="0"/>
          </a:p>
          <a:p>
            <a:endParaRPr lang="en-US" dirty="0"/>
          </a:p>
          <a:p>
            <a:r>
              <a:rPr lang="en-US" dirty="0"/>
              <a:t>Samples</a:t>
            </a:r>
          </a:p>
          <a:p>
            <a:pPr lvl="1"/>
            <a:r>
              <a:rPr lang="en-US" dirty="0"/>
              <a:t>aka.ms/</a:t>
            </a:r>
            <a:r>
              <a:rPr lang="en-US" dirty="0" err="1"/>
              <a:t>bcexcelsamples</a:t>
            </a:r>
            <a:endParaRPr lang="en-US" dirty="0"/>
          </a:p>
          <a:p>
            <a:endParaRPr lang="en-DK" dirty="0"/>
          </a:p>
        </p:txBody>
      </p:sp>
    </p:spTree>
    <p:extLst>
      <p:ext uri="{BB962C8B-B14F-4D97-AF65-F5344CB8AC3E}">
        <p14:creationId xmlns:p14="http://schemas.microsoft.com/office/powerpoint/2010/main" val="4580081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7EED-13D6-4AC0-8FC4-5A17536EDA36}"/>
              </a:ext>
            </a:extLst>
          </p:cNvPr>
          <p:cNvSpPr>
            <a:spLocks noGrp="1"/>
          </p:cNvSpPr>
          <p:nvPr>
            <p:ph type="title"/>
          </p:nvPr>
        </p:nvSpPr>
        <p:spPr/>
        <p:txBody>
          <a:bodyPr/>
          <a:lstStyle/>
          <a:p>
            <a:r>
              <a:rPr lang="en-US">
                <a:cs typeface="Calibri Light"/>
              </a:rPr>
              <a:t>How it works in the server</a:t>
            </a:r>
            <a:endParaRPr lang="en-US"/>
          </a:p>
        </p:txBody>
      </p:sp>
      <p:sp>
        <p:nvSpPr>
          <p:cNvPr id="3" name="Content Placeholder 2">
            <a:extLst>
              <a:ext uri="{FF2B5EF4-FFF2-40B4-BE49-F238E27FC236}">
                <a16:creationId xmlns:a16="http://schemas.microsoft.com/office/drawing/2014/main" id="{F14873A5-850F-4DDB-9A3A-70AFD67D4515}"/>
              </a:ext>
            </a:extLst>
          </p:cNvPr>
          <p:cNvSpPr>
            <a:spLocks noGrp="1"/>
          </p:cNvSpPr>
          <p:nvPr>
            <p:ph idx="1"/>
          </p:nvPr>
        </p:nvSpPr>
        <p:spPr/>
        <p:txBody>
          <a:bodyPr vert="horz" lIns="91440" tIns="45720" rIns="91440" bIns="45720" rtlCol="0" anchor="t">
            <a:normAutofit/>
          </a:bodyPr>
          <a:lstStyle/>
          <a:p>
            <a:r>
              <a:rPr lang="en-US">
                <a:cs typeface="Calibri"/>
              </a:rPr>
              <a:t>During upload we remove all data from the Data worksheet</a:t>
            </a:r>
          </a:p>
          <a:p>
            <a:pPr marL="0" indent="0">
              <a:buNone/>
            </a:pPr>
            <a:endParaRPr lang="en-US">
              <a:cs typeface="Calibri"/>
            </a:endParaRPr>
          </a:p>
          <a:p>
            <a:r>
              <a:rPr lang="en-US">
                <a:cs typeface="Calibri"/>
              </a:rPr>
              <a:t>During RUN, we update the Data-Sheet with new data</a:t>
            </a:r>
          </a:p>
          <a:p>
            <a:endParaRPr lang="en-US">
              <a:cs typeface="Calibri"/>
            </a:endParaRPr>
          </a:p>
          <a:p>
            <a:r>
              <a:rPr lang="en-US">
                <a:cs typeface="Calibri"/>
              </a:rPr>
              <a:t>Author can remove columns from the Data worksheet, any other changes are not allowed</a:t>
            </a:r>
          </a:p>
          <a:p>
            <a:endParaRPr lang="en-US">
              <a:cs typeface="Calibri"/>
            </a:endParaRPr>
          </a:p>
          <a:p>
            <a:r>
              <a:rPr lang="en-US" err="1">
                <a:ea typeface="+mn-lt"/>
                <a:cs typeface="+mn-lt"/>
              </a:rPr>
              <a:t>ForceFullCalculation</a:t>
            </a:r>
            <a:r>
              <a:rPr lang="en-US">
                <a:ea typeface="+mn-lt"/>
                <a:cs typeface="+mn-lt"/>
              </a:rPr>
              <a:t> and </a:t>
            </a:r>
            <a:r>
              <a:rPr lang="en-US" err="1">
                <a:ea typeface="+mn-lt"/>
                <a:cs typeface="+mn-lt"/>
              </a:rPr>
              <a:t>FullCalculationOnLoad</a:t>
            </a:r>
            <a:r>
              <a:rPr lang="en-US">
                <a:ea typeface="+mn-lt"/>
                <a:cs typeface="+mn-lt"/>
              </a:rPr>
              <a:t> set to true to update all pivot table and graph references.</a:t>
            </a:r>
            <a:endParaRPr lang="en-US">
              <a:cs typeface="Calibri"/>
            </a:endParaRPr>
          </a:p>
        </p:txBody>
      </p:sp>
    </p:spTree>
    <p:extLst>
      <p:ext uri="{BB962C8B-B14F-4D97-AF65-F5344CB8AC3E}">
        <p14:creationId xmlns:p14="http://schemas.microsoft.com/office/powerpoint/2010/main" val="861046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p:txBody>
          <a:bodyPr/>
          <a:lstStyle/>
          <a:p>
            <a:r>
              <a:rPr lang="en-US"/>
              <a:t>The “Data Contract” (do not change this)</a:t>
            </a:r>
          </a:p>
        </p:txBody>
      </p:sp>
      <p:grpSp>
        <p:nvGrpSpPr>
          <p:cNvPr id="3" name="Group 2">
            <a:extLst>
              <a:ext uri="{FF2B5EF4-FFF2-40B4-BE49-F238E27FC236}">
                <a16:creationId xmlns:a16="http://schemas.microsoft.com/office/drawing/2014/main" id="{F3B055C3-7672-416D-A467-A4974B0EA31D}"/>
              </a:ext>
            </a:extLst>
          </p:cNvPr>
          <p:cNvGrpSpPr/>
          <p:nvPr/>
        </p:nvGrpSpPr>
        <p:grpSpPr>
          <a:xfrm>
            <a:off x="567142" y="1443255"/>
            <a:ext cx="11445316" cy="5343711"/>
            <a:chOff x="674718" y="1429808"/>
            <a:chExt cx="11445316" cy="5343711"/>
          </a:xfrm>
        </p:grpSpPr>
        <p:grpSp>
          <p:nvGrpSpPr>
            <p:cNvPr id="9" name="Group 8">
              <a:extLst>
                <a:ext uri="{FF2B5EF4-FFF2-40B4-BE49-F238E27FC236}">
                  <a16:creationId xmlns:a16="http://schemas.microsoft.com/office/drawing/2014/main" id="{0F58B565-BC65-43C5-BB81-B10B27CA1F70}"/>
                </a:ext>
              </a:extLst>
            </p:cNvPr>
            <p:cNvGrpSpPr/>
            <p:nvPr/>
          </p:nvGrpSpPr>
          <p:grpSpPr>
            <a:xfrm>
              <a:off x="2705100" y="1429808"/>
              <a:ext cx="9414934" cy="5343711"/>
              <a:chOff x="944033" y="1353608"/>
              <a:chExt cx="9414934" cy="5343711"/>
            </a:xfrm>
          </p:grpSpPr>
          <p:graphicFrame>
            <p:nvGraphicFramePr>
              <p:cNvPr id="4" name="Object 3">
                <a:extLst>
                  <a:ext uri="{FF2B5EF4-FFF2-40B4-BE49-F238E27FC236}">
                    <a16:creationId xmlns:a16="http://schemas.microsoft.com/office/drawing/2014/main" id="{7DE9D236-1738-4985-8341-EE9359C38BFE}"/>
                  </a:ext>
                </a:extLst>
              </p:cNvPr>
              <p:cNvGraphicFramePr>
                <a:graphicFrameLocks noChangeAspect="1"/>
              </p:cNvGraphicFramePr>
              <p:nvPr>
                <p:extLst>
                  <p:ext uri="{D42A27DB-BD31-4B8C-83A1-F6EECF244321}">
                    <p14:modId xmlns:p14="http://schemas.microsoft.com/office/powerpoint/2010/main" val="457511498"/>
                  </p:ext>
                </p:extLst>
              </p:nvPr>
            </p:nvGraphicFramePr>
            <p:xfrm>
              <a:off x="944033" y="1353608"/>
              <a:ext cx="9414934" cy="5343711"/>
            </p:xfrm>
            <a:graphic>
              <a:graphicData uri="http://schemas.openxmlformats.org/presentationml/2006/ole">
                <mc:AlternateContent xmlns:mc="http://schemas.openxmlformats.org/markup-compatibility/2006">
                  <mc:Choice xmlns:v="urn:schemas-microsoft-com:vml" Requires="v">
                    <p:oleObj name="Bitmap Image" r:id="rId2" imgW="12176280" imgH="6912000" progId="Paint.Picture">
                      <p:embed/>
                    </p:oleObj>
                  </mc:Choice>
                  <mc:Fallback>
                    <p:oleObj name="Bitmap Image" r:id="rId2" imgW="12176280" imgH="6912000" progId="Paint.Picture">
                      <p:embed/>
                      <p:pic>
                        <p:nvPicPr>
                          <p:cNvPr id="4" name="Object 3">
                            <a:extLst>
                              <a:ext uri="{FF2B5EF4-FFF2-40B4-BE49-F238E27FC236}">
                                <a16:creationId xmlns:a16="http://schemas.microsoft.com/office/drawing/2014/main" id="{7DE9D236-1738-4985-8341-EE9359C38BFE}"/>
                              </a:ext>
                            </a:extLst>
                          </p:cNvPr>
                          <p:cNvPicPr/>
                          <p:nvPr/>
                        </p:nvPicPr>
                        <p:blipFill>
                          <a:blip r:embed="rId3"/>
                          <a:stretch>
                            <a:fillRect/>
                          </a:stretch>
                        </p:blipFill>
                        <p:spPr>
                          <a:xfrm>
                            <a:off x="944033" y="1353608"/>
                            <a:ext cx="9414934" cy="534371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A995E2-82F5-49F2-B96E-B3C4D0C586C9}"/>
                  </a:ext>
                </a:extLst>
              </p:cNvPr>
              <p:cNvSpPr/>
              <p:nvPr/>
            </p:nvSpPr>
            <p:spPr>
              <a:xfrm>
                <a:off x="1096433" y="2294467"/>
                <a:ext cx="9084734" cy="1651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E39A71C-3535-42DD-8FBE-477B4CC41113}"/>
                  </a:ext>
                </a:extLst>
              </p:cNvPr>
              <p:cNvSpPr/>
              <p:nvPr/>
            </p:nvSpPr>
            <p:spPr>
              <a:xfrm>
                <a:off x="1771650" y="6451601"/>
                <a:ext cx="383117" cy="211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FF7FEABD-E2FF-49A8-823E-B489743F6720}"/>
                </a:ext>
              </a:extLst>
            </p:cNvPr>
            <p:cNvSpPr txBox="1"/>
            <p:nvPr/>
          </p:nvSpPr>
          <p:spPr>
            <a:xfrm>
              <a:off x="674718" y="3124742"/>
              <a:ext cx="1169646" cy="369332"/>
            </a:xfrm>
            <a:prstGeom prst="rect">
              <a:avLst/>
            </a:prstGeom>
            <a:noFill/>
          </p:spPr>
          <p:txBody>
            <a:bodyPr wrap="square" rtlCol="0">
              <a:spAutoFit/>
            </a:bodyPr>
            <a:lstStyle/>
            <a:p>
              <a:r>
                <a:rPr lang="en-US">
                  <a:solidFill>
                    <a:srgbClr val="C00000"/>
                  </a:solidFill>
                </a:rPr>
                <a:t>Contract</a:t>
              </a:r>
            </a:p>
          </p:txBody>
        </p:sp>
        <p:cxnSp>
          <p:nvCxnSpPr>
            <p:cNvPr id="12" name="Straight Connector 11">
              <a:extLst>
                <a:ext uri="{FF2B5EF4-FFF2-40B4-BE49-F238E27FC236}">
                  <a16:creationId xmlns:a16="http://schemas.microsoft.com/office/drawing/2014/main" id="{43F2A104-CB65-4F70-971E-A62266F8870F}"/>
                </a:ext>
              </a:extLst>
            </p:cNvPr>
            <p:cNvCxnSpPr>
              <a:cxnSpLocks/>
              <a:endCxn id="5" idx="1"/>
            </p:cNvCxnSpPr>
            <p:nvPr/>
          </p:nvCxnSpPr>
          <p:spPr>
            <a:xfrm flipV="1">
              <a:off x="1680633" y="2453217"/>
              <a:ext cx="1176867" cy="81491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071801-9574-4474-8831-B46507193A3D}"/>
                </a:ext>
              </a:extLst>
            </p:cNvPr>
            <p:cNvCxnSpPr>
              <a:cxnSpLocks/>
              <a:endCxn id="7" idx="1"/>
            </p:cNvCxnSpPr>
            <p:nvPr/>
          </p:nvCxnSpPr>
          <p:spPr>
            <a:xfrm>
              <a:off x="1680633" y="3350683"/>
              <a:ext cx="1852084" cy="328295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2361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a:xfrm>
            <a:off x="-1" y="35142"/>
            <a:ext cx="11933499" cy="1325563"/>
          </a:xfrm>
        </p:spPr>
        <p:txBody>
          <a:bodyPr>
            <a:normAutofit/>
          </a:bodyPr>
          <a:lstStyle/>
          <a:p>
            <a:r>
              <a:rPr lang="en-US" dirty="0"/>
              <a:t>The “Data Contract” (do not change this) – new feature in 2023 release wave 2: multiple worksheets</a:t>
            </a:r>
          </a:p>
        </p:txBody>
      </p:sp>
      <p:pic>
        <p:nvPicPr>
          <p:cNvPr id="8" name="Picture 7" descr="A screenshot of a computer&#10;&#10;Description automatically generated">
            <a:extLst>
              <a:ext uri="{FF2B5EF4-FFF2-40B4-BE49-F238E27FC236}">
                <a16:creationId xmlns:a16="http://schemas.microsoft.com/office/drawing/2014/main" id="{25A68285-83E0-A319-D35A-2DBEFF78F3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9356" y="1691302"/>
            <a:ext cx="8649597" cy="4879260"/>
          </a:xfrm>
          <a:prstGeom prst="rect">
            <a:avLst/>
          </a:prstGeom>
        </p:spPr>
      </p:pic>
      <p:sp>
        <p:nvSpPr>
          <p:cNvPr id="11" name="TextBox 10">
            <a:extLst>
              <a:ext uri="{FF2B5EF4-FFF2-40B4-BE49-F238E27FC236}">
                <a16:creationId xmlns:a16="http://schemas.microsoft.com/office/drawing/2014/main" id="{2A3A88A9-D4E7-B7F9-8C02-E9E416DAB5F1}"/>
              </a:ext>
            </a:extLst>
          </p:cNvPr>
          <p:cNvSpPr txBox="1"/>
          <p:nvPr/>
        </p:nvSpPr>
        <p:spPr>
          <a:xfrm>
            <a:off x="509286" y="3592010"/>
            <a:ext cx="1496992" cy="369332"/>
          </a:xfrm>
          <a:prstGeom prst="rect">
            <a:avLst/>
          </a:prstGeom>
          <a:noFill/>
        </p:spPr>
        <p:txBody>
          <a:bodyPr wrap="square" rtlCol="0">
            <a:spAutoFit/>
          </a:bodyPr>
          <a:lstStyle/>
          <a:p>
            <a:r>
              <a:rPr lang="en-GB" dirty="0">
                <a:solidFill>
                  <a:srgbClr val="FF0000"/>
                </a:solidFill>
              </a:rPr>
              <a:t>Data contract</a:t>
            </a:r>
          </a:p>
        </p:txBody>
      </p:sp>
      <p:cxnSp>
        <p:nvCxnSpPr>
          <p:cNvPr id="14" name="Straight Connector 13">
            <a:extLst>
              <a:ext uri="{FF2B5EF4-FFF2-40B4-BE49-F238E27FC236}">
                <a16:creationId xmlns:a16="http://schemas.microsoft.com/office/drawing/2014/main" id="{0B25C33E-FCED-C951-2365-A003CC2782EC}"/>
              </a:ext>
            </a:extLst>
          </p:cNvPr>
          <p:cNvCxnSpPr>
            <a:cxnSpLocks/>
          </p:cNvCxnSpPr>
          <p:nvPr/>
        </p:nvCxnSpPr>
        <p:spPr>
          <a:xfrm>
            <a:off x="1343608" y="4130932"/>
            <a:ext cx="3074437" cy="218122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FF01B4-CF16-DF91-B090-F2313CA6FADB}"/>
              </a:ext>
            </a:extLst>
          </p:cNvPr>
          <p:cNvCxnSpPr>
            <a:cxnSpLocks/>
          </p:cNvCxnSpPr>
          <p:nvPr/>
        </p:nvCxnSpPr>
        <p:spPr>
          <a:xfrm>
            <a:off x="1651518" y="4040155"/>
            <a:ext cx="4399384" cy="227200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583526B-AD5C-86C6-49D2-BF2D67569DAB}"/>
              </a:ext>
            </a:extLst>
          </p:cNvPr>
          <p:cNvCxnSpPr>
            <a:cxnSpLocks/>
          </p:cNvCxnSpPr>
          <p:nvPr/>
        </p:nvCxnSpPr>
        <p:spPr>
          <a:xfrm>
            <a:off x="2006278" y="3904861"/>
            <a:ext cx="5598171" cy="237464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966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155177" cy="1325563"/>
          </a:xfrm>
        </p:spPr>
        <p:txBody>
          <a:bodyPr/>
          <a:lstStyle/>
          <a:p>
            <a:r>
              <a:rPr lang="en-US"/>
              <a:t>Layout the data (pivot tables, slicers, and charts)</a:t>
            </a:r>
          </a:p>
        </p:txBody>
      </p:sp>
      <p:graphicFrame>
        <p:nvGraphicFramePr>
          <p:cNvPr id="3" name="Object 2">
            <a:extLst>
              <a:ext uri="{FF2B5EF4-FFF2-40B4-BE49-F238E27FC236}">
                <a16:creationId xmlns:a16="http://schemas.microsoft.com/office/drawing/2014/main" id="{7B1322E6-B9C0-45D8-8F74-997084775458}"/>
              </a:ext>
            </a:extLst>
          </p:cNvPr>
          <p:cNvGraphicFramePr>
            <a:graphicFrameLocks noChangeAspect="1"/>
          </p:cNvGraphicFramePr>
          <p:nvPr>
            <p:extLst>
              <p:ext uri="{D42A27DB-BD31-4B8C-83A1-F6EECF244321}">
                <p14:modId xmlns:p14="http://schemas.microsoft.com/office/powerpoint/2010/main" val="999730744"/>
              </p:ext>
            </p:extLst>
          </p:nvPr>
        </p:nvGraphicFramePr>
        <p:xfrm>
          <a:off x="932329" y="1849636"/>
          <a:ext cx="10226582" cy="4404927"/>
        </p:xfrm>
        <a:graphic>
          <a:graphicData uri="http://schemas.openxmlformats.org/presentationml/2006/ole">
            <mc:AlternateContent xmlns:mc="http://schemas.openxmlformats.org/markup-compatibility/2006">
              <mc:Choice xmlns:v="urn:schemas-microsoft-com:vml" Requires="v">
                <p:oleObj name="Bitmap Image" r:id="rId2" imgW="12169800" imgH="5241960" progId="Paint.Picture">
                  <p:embed/>
                </p:oleObj>
              </mc:Choice>
              <mc:Fallback>
                <p:oleObj name="Bitmap Image" r:id="rId2" imgW="12169800" imgH="5241960" progId="Paint.Picture">
                  <p:embed/>
                  <p:pic>
                    <p:nvPicPr>
                      <p:cNvPr id="3" name="Object 2">
                        <a:extLst>
                          <a:ext uri="{FF2B5EF4-FFF2-40B4-BE49-F238E27FC236}">
                            <a16:creationId xmlns:a16="http://schemas.microsoft.com/office/drawing/2014/main" id="{7B1322E6-B9C0-45D8-8F74-997084775458}"/>
                          </a:ext>
                        </a:extLst>
                      </p:cNvPr>
                      <p:cNvPicPr/>
                      <p:nvPr/>
                    </p:nvPicPr>
                    <p:blipFill>
                      <a:blip r:embed="rId3"/>
                      <a:stretch>
                        <a:fillRect/>
                      </a:stretch>
                    </p:blipFill>
                    <p:spPr>
                      <a:xfrm>
                        <a:off x="932329" y="1849636"/>
                        <a:ext cx="10226582" cy="4404927"/>
                      </a:xfrm>
                      <a:prstGeom prst="rect">
                        <a:avLst/>
                      </a:prstGeom>
                    </p:spPr>
                  </p:pic>
                </p:oleObj>
              </mc:Fallback>
            </mc:AlternateContent>
          </a:graphicData>
        </a:graphic>
      </p:graphicFrame>
    </p:spTree>
    <p:extLst>
      <p:ext uri="{BB962C8B-B14F-4D97-AF65-F5344CB8AC3E}">
        <p14:creationId xmlns:p14="http://schemas.microsoft.com/office/powerpoint/2010/main" val="3979461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3.xml><?xml version="1.0" encoding="utf-8"?>
<a:theme xmlns:a="http://schemas.openxmlformats.org/drawingml/2006/main" name="1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4.xml><?xml version="1.0" encoding="utf-8"?>
<a:theme xmlns:a="http://schemas.openxmlformats.org/drawingml/2006/main" name="1_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9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6.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1</TotalTime>
  <Words>1742</Words>
  <Application>Microsoft Office PowerPoint</Application>
  <PresentationFormat>Widescreen</PresentationFormat>
  <Paragraphs>236</Paragraphs>
  <Slides>69</Slides>
  <Notes>6</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69</vt:i4>
      </vt:variant>
    </vt:vector>
  </HeadingPairs>
  <TitlesOfParts>
    <vt:vector size="85" baseType="lpstr">
      <vt:lpstr>Arial</vt:lpstr>
      <vt:lpstr>Calibri</vt:lpstr>
      <vt:lpstr>Calibri Light</vt:lpstr>
      <vt:lpstr>Consolas</vt:lpstr>
      <vt:lpstr>Segoe UI</vt:lpstr>
      <vt:lpstr>Segoe UI Semibold</vt:lpstr>
      <vt:lpstr>Segoe UI Semilight</vt:lpstr>
      <vt:lpstr>Wingdings</vt:lpstr>
      <vt:lpstr>Office Theme</vt:lpstr>
      <vt:lpstr>9-51153_Microsoft_Ignite_Black_Template</vt:lpstr>
      <vt:lpstr>11_White Template</vt:lpstr>
      <vt:lpstr>1_BA Template Lines 083120</vt:lpstr>
      <vt:lpstr>9_Dynamics 365</vt:lpstr>
      <vt:lpstr>Microsoft D365 template</vt:lpstr>
      <vt:lpstr>Bitmap Image</vt:lpstr>
      <vt:lpstr>think-cell Slide</vt:lpstr>
      <vt:lpstr>Excel layouts in Dynamics 365 Business Central</vt:lpstr>
      <vt:lpstr>Excel layouts in four five bullets</vt:lpstr>
      <vt:lpstr>Layout experience</vt:lpstr>
      <vt:lpstr>Creating a layout in four easy steps</vt:lpstr>
      <vt:lpstr>Get blank template</vt:lpstr>
      <vt:lpstr>Get blank template</vt:lpstr>
      <vt:lpstr>The “Data Contract” (do not change this)</vt:lpstr>
      <vt:lpstr>The “Data Contract” (do not change this) – new feature in 2023 release wave 2: multiple worksheets</vt:lpstr>
      <vt:lpstr>Layout the data (pivot tables, slicers, and charts)</vt:lpstr>
      <vt:lpstr>Use multiple pivot tables in the same report</vt:lpstr>
      <vt:lpstr>Use table formulas to create calculated columns</vt:lpstr>
      <vt:lpstr>Use PowerQuery to merge with external data</vt:lpstr>
      <vt:lpstr>Credit scores loaded from Excel workbook on Sharepoint site</vt:lpstr>
      <vt:lpstr>Importing the layout</vt:lpstr>
      <vt:lpstr>Importing the layout</vt:lpstr>
      <vt:lpstr>Importing the layout</vt:lpstr>
      <vt:lpstr>Testing the layout</vt:lpstr>
      <vt:lpstr>Design guidelines (for layouts)</vt:lpstr>
      <vt:lpstr>Worksheet naming and location</vt:lpstr>
      <vt:lpstr>One or multiple worksheets?</vt:lpstr>
      <vt:lpstr>One or multiple worksheets?</vt:lpstr>
      <vt:lpstr>Using Office themes</vt:lpstr>
      <vt:lpstr>Developer experience</vt:lpstr>
      <vt:lpstr>Developer experience</vt:lpstr>
      <vt:lpstr>What if I change the dataset definition?</vt:lpstr>
      <vt:lpstr>OneDrive Integration</vt:lpstr>
      <vt:lpstr>Configure OneDrive Integration</vt:lpstr>
      <vt:lpstr>PowerPoint Presentation</vt:lpstr>
      <vt:lpstr>Power BI integration</vt:lpstr>
      <vt:lpstr>Ad hoc reporting - Excel Organization Data Types based on Business Central </vt:lpstr>
      <vt:lpstr>Where does Excel layouts shine?</vt:lpstr>
      <vt:lpstr>Use Excel layouts when</vt:lpstr>
      <vt:lpstr>Understanding the numbers and process</vt:lpstr>
      <vt:lpstr>Democratizing the layout experience</vt:lpstr>
      <vt:lpstr>Excel layout samples</vt:lpstr>
      <vt:lpstr>aka.ms/bcexcelsamples</vt:lpstr>
      <vt:lpstr>Post-processing (with Excel)</vt:lpstr>
      <vt:lpstr>Using Excel features to do post processing and data analysis</vt:lpstr>
      <vt:lpstr>Post-processing in Excel – Sort &amp; Filter</vt:lpstr>
      <vt:lpstr>Post-processing in Excel – Data Tools</vt:lpstr>
      <vt:lpstr>Post-processing in Excel – Forecast</vt:lpstr>
      <vt:lpstr>Post-processing in Excel – Outline</vt:lpstr>
      <vt:lpstr>Post-processing in Excel – PowerPivot</vt:lpstr>
      <vt:lpstr>Let Excel find insights in your data</vt:lpstr>
      <vt:lpstr>Collaborate (with Excel)</vt:lpstr>
      <vt:lpstr>Using Excel features to collaborate on the report document</vt:lpstr>
      <vt:lpstr>Collaborate in Excel – Comments</vt:lpstr>
      <vt:lpstr>Collaborate in Excel – Use notes</vt:lpstr>
      <vt:lpstr>Collaborate in Excel – Draw notes with Inking</vt:lpstr>
      <vt:lpstr>Collaborate in Excel – Protect sheet/workbook</vt:lpstr>
      <vt:lpstr>Collaborate in Excel – Classify the document</vt:lpstr>
      <vt:lpstr>Collaborate in Excel – Share the report</vt:lpstr>
      <vt:lpstr>Collaborate in Excel – Kick off a Flow</vt:lpstr>
      <vt:lpstr>Using Power Query</vt:lpstr>
      <vt:lpstr>Using Power Query in the layout to enrich with external data</vt:lpstr>
      <vt:lpstr>Using Power Query - Files</vt:lpstr>
      <vt:lpstr>Using Power Query - Databases</vt:lpstr>
      <vt:lpstr>Using Power Query – Azure data stores</vt:lpstr>
      <vt:lpstr>Using Power Query – Azure services</vt:lpstr>
      <vt:lpstr>Using Power Query – Other sources</vt:lpstr>
      <vt:lpstr>Tips and Tricks</vt:lpstr>
      <vt:lpstr>Do you have code samples?</vt:lpstr>
      <vt:lpstr>I just want the report data in Excel</vt:lpstr>
      <vt:lpstr>I want to to create a layout from scratch, but I don’t know what might be useful to show</vt:lpstr>
      <vt:lpstr>I want to manipulate data and show it in a worksheet</vt:lpstr>
      <vt:lpstr>I want to use nice headings in the pivot tables</vt:lpstr>
      <vt:lpstr>I want to use the report as a data source</vt:lpstr>
      <vt:lpstr>Links</vt:lpstr>
      <vt:lpstr>How it works in the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layouts in Dynamics 365 Business Central</dc:title>
  <dc:creator>Kennie Pontoppidan</dc:creator>
  <cp:lastModifiedBy>Kennie Pontoppidan</cp:lastModifiedBy>
  <cp:revision>7</cp:revision>
  <dcterms:created xsi:type="dcterms:W3CDTF">2022-02-23T21:57:51Z</dcterms:created>
  <dcterms:modified xsi:type="dcterms:W3CDTF">2023-09-30T14:10:33Z</dcterms:modified>
</cp:coreProperties>
</file>